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0" r:id="rId2"/>
  </p:sldMasterIdLst>
  <p:notesMasterIdLst>
    <p:notesMasterId r:id="rId18"/>
  </p:notesMasterIdLst>
  <p:sldIdLst>
    <p:sldId id="281" r:id="rId3"/>
    <p:sldId id="282" r:id="rId4"/>
    <p:sldId id="295" r:id="rId5"/>
    <p:sldId id="296" r:id="rId6"/>
    <p:sldId id="300" r:id="rId7"/>
    <p:sldId id="301" r:id="rId8"/>
    <p:sldId id="268" r:id="rId9"/>
    <p:sldId id="294" r:id="rId10"/>
    <p:sldId id="276" r:id="rId11"/>
    <p:sldId id="292" r:id="rId12"/>
    <p:sldId id="302" r:id="rId13"/>
    <p:sldId id="303" r:id="rId14"/>
    <p:sldId id="304" r:id="rId15"/>
    <p:sldId id="288" r:id="rId16"/>
    <p:sldId id="289" r:id="rId17"/>
  </p:sldIdLst>
  <p:sldSz cx="12192000" cy="6858000"/>
  <p:notesSz cx="6797675" cy="9872663"/>
  <p:custDataLst>
    <p:tags r:id="rId1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3885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orient="horz" pos="1933" userDrawn="1">
          <p15:clr>
            <a:srgbClr val="A4A3A4"/>
          </p15:clr>
        </p15:guide>
        <p15:guide id="5" pos="529" userDrawn="1">
          <p15:clr>
            <a:srgbClr val="A4A3A4"/>
          </p15:clr>
        </p15:guide>
        <p15:guide id="6" pos="7151" userDrawn="1">
          <p15:clr>
            <a:srgbClr val="A4A3A4"/>
          </p15:clr>
        </p15:guide>
        <p15:guide id="7" orient="horz" pos="84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F0D9"/>
    <a:srgbClr val="126C68"/>
    <a:srgbClr val="0D9E9B"/>
    <a:srgbClr val="1EA5A0"/>
    <a:srgbClr val="07FA04"/>
    <a:srgbClr val="D0D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9" autoAdjust="0"/>
    <p:restoredTop sz="92308" autoAdjust="0"/>
  </p:normalViewPr>
  <p:slideViewPr>
    <p:cSldViewPr snapToGrid="0" snapToObjects="1">
      <p:cViewPr varScale="1">
        <p:scale>
          <a:sx n="72" d="100"/>
          <a:sy n="72" d="100"/>
        </p:scale>
        <p:origin x="534" y="78"/>
      </p:cViewPr>
      <p:guideLst>
        <p:guide orient="horz" pos="731"/>
        <p:guide pos="3885"/>
        <p:guide pos="257"/>
        <p:guide orient="horz" pos="1933"/>
        <p:guide pos="529"/>
        <p:guide pos="7151"/>
        <p:guide orient="horz" pos="84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27676784398713"/>
          <c:y val="9.4724105839391309E-2"/>
          <c:w val="0.78966693589779302"/>
          <c:h val="0.607730509360085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hiffre d'affair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Feuil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Feuil1!$B$2:$B$6</c:f>
              <c:numCache>
                <c:formatCode>#,##0\ _€</c:formatCode>
                <c:ptCount val="5"/>
                <c:pt idx="0">
                  <c:v>176</c:v>
                </c:pt>
                <c:pt idx="1">
                  <c:v>247</c:v>
                </c:pt>
                <c:pt idx="2">
                  <c:v>930</c:v>
                </c:pt>
                <c:pt idx="3">
                  <c:v>2547</c:v>
                </c:pt>
                <c:pt idx="4">
                  <c:v>5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4F-4AD6-9F1B-5ABC329B4BB6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EBITD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Feuil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Feuil1!$C$2:$C$6</c:f>
              <c:numCache>
                <c:formatCode>#,##0\ _€</c:formatCode>
                <c:ptCount val="5"/>
                <c:pt idx="0">
                  <c:v>-3</c:v>
                </c:pt>
                <c:pt idx="1">
                  <c:v>-534</c:v>
                </c:pt>
                <c:pt idx="2">
                  <c:v>-516</c:v>
                </c:pt>
                <c:pt idx="3">
                  <c:v>689</c:v>
                </c:pt>
                <c:pt idx="4">
                  <c:v>26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4F-4AD6-9F1B-5ABC329B4B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52437344"/>
        <c:axId val="1052425920"/>
      </c:barChart>
      <c:catAx>
        <c:axId val="1052437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+mn-ea"/>
                <a:cs typeface="+mn-cs"/>
              </a:defRPr>
            </a:pPr>
            <a:endParaRPr lang="fr-FR"/>
          </a:p>
        </c:txPr>
        <c:crossAx val="1052425920"/>
        <c:crosses val="autoZero"/>
        <c:auto val="1"/>
        <c:lblAlgn val="ctr"/>
        <c:lblOffset val="100"/>
        <c:noMultiLvlLbl val="0"/>
      </c:catAx>
      <c:valAx>
        <c:axId val="1052425920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\ _€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ea typeface="+mn-ea"/>
                <a:cs typeface="+mn-cs"/>
              </a:defRPr>
            </a:pPr>
            <a:endParaRPr lang="fr-FR"/>
          </a:p>
        </c:txPr>
        <c:crossAx val="1052437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072522445545727"/>
          <c:y val="0.12698532396685033"/>
          <c:w val="0.2377104478918407"/>
          <c:h val="0.11602559963297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Lato" panose="020F0502020204030203" pitchFamily="34" charset="0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27D99C-4250-444B-BA54-4CAEABE2DD3D}" type="datetimeFigureOut">
              <a:rPr lang="fr-FR" smtClean="0"/>
              <a:t>05/06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ECB7C3-6EF0-4328-A489-841AEA35578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10878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ECB7C3-6EF0-4328-A489-841AEA355786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02103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" Target="../slides/slide4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" Target="../slides/slide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4.png"/><Relationship Id="rId5" Type="http://schemas.openxmlformats.org/officeDocument/2006/relationships/tags" Target="../tags/tag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slide" Target="../slides/slide4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slide" Target="../slides/slide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4.png"/><Relationship Id="rId5" Type="http://schemas.openxmlformats.org/officeDocument/2006/relationships/tags" Target="../tags/tag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" Target="../slides/slide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4.png"/><Relationship Id="rId5" Type="http://schemas.openxmlformats.org/officeDocument/2006/relationships/tags" Target="../tags/tag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115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Diapositive think-cell" r:id="rId4" imgW="420" imgH="403" progId="TCLayout.ActiveDocument.1">
                  <p:embed/>
                </p:oleObj>
              </mc:Choice>
              <mc:Fallback>
                <p:oleObj name="Diapositive think-cell" r:id="rId4" imgW="420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9"/>
          <p:cNvPicPr>
            <a:picLocks noChangeAspect="1"/>
          </p:cNvPicPr>
          <p:nvPr userDrawn="1"/>
        </p:nvPicPr>
        <p:blipFill rotWithShape="1"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3" b="14438"/>
          <a:stretch/>
        </p:blipFill>
        <p:spPr>
          <a:xfrm>
            <a:off x="-1" y="144000"/>
            <a:ext cx="12192000" cy="6704279"/>
          </a:xfrm>
          <a:prstGeom prst="rect">
            <a:avLst/>
          </a:prstGeom>
          <a:ln>
            <a:noFill/>
          </a:ln>
        </p:spPr>
      </p:pic>
      <p:sp>
        <p:nvSpPr>
          <p:cNvPr id="12" name="Rectangle 11"/>
          <p:cNvSpPr/>
          <p:nvPr userDrawn="1"/>
        </p:nvSpPr>
        <p:spPr>
          <a:xfrm>
            <a:off x="0" y="6704279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Juin 2018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Fauquet</a:t>
            </a:r>
            <a:r>
              <a:rPr lang="fr-FR" dirty="0"/>
              <a:t> Innovation - Confidentiel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06AEA6-B279-E449-8EE1-95019B9B4299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58" y="873370"/>
            <a:ext cx="4322225" cy="101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434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4387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2072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Text Placeholder 4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59111" y="1637331"/>
            <a:ext cx="465600" cy="3492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squar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60000"/>
              <a:buFont typeface="Garamond" pitchFamily="18" charset="0"/>
            </a:pPr>
            <a:r>
              <a:rPr lang="fr-FR" sz="1400" b="1" kern="1200" dirty="0">
                <a:solidFill>
                  <a:schemeClr val="tx1"/>
                </a:solidFill>
                <a:effectLst/>
                <a:latin typeface="+mn-lt"/>
                <a:ea typeface="+mj-ea"/>
                <a:cs typeface="+mj-cs"/>
              </a:rPr>
              <a:t>1</a:t>
            </a:r>
          </a:p>
        </p:txBody>
      </p:sp>
      <p:sp>
        <p:nvSpPr>
          <p:cNvPr id="24" name="ZoneTexte 20"/>
          <p:cNvSpPr txBox="1"/>
          <p:nvPr userDrawn="1">
            <p:custDataLst>
              <p:tags r:id="rId2"/>
            </p:custDataLst>
          </p:nvPr>
        </p:nvSpPr>
        <p:spPr>
          <a:xfrm>
            <a:off x="1331409" y="1600981"/>
            <a:ext cx="9581627" cy="349702"/>
          </a:xfrm>
          <a:prstGeom prst="rect">
            <a:avLst/>
          </a:prstGeom>
          <a:noFill/>
        </p:spPr>
        <p:txBody>
          <a:bodyPr vert="horz" wrap="square" lIns="0" tIns="36000" rIns="0" bIns="36000" rtlCol="0" anchor="ctr" anchorCtr="0">
            <a:spAutoFit/>
          </a:bodyPr>
          <a:lstStyle/>
          <a:p>
            <a:r>
              <a:rPr lang="fr-FR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PSLIDE</a:t>
            </a:r>
          </a:p>
        </p:txBody>
      </p:sp>
      <p:sp>
        <p:nvSpPr>
          <p:cNvPr id="25" name="Rectangle 24"/>
          <p:cNvSpPr/>
          <p:nvPr userDrawn="1">
            <p:custDataLst>
              <p:tags r:id="rId3"/>
            </p:custDataLst>
          </p:nvPr>
        </p:nvSpPr>
        <p:spPr>
          <a:xfrm>
            <a:off x="362857" y="1643743"/>
            <a:ext cx="11379200" cy="4626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6" name="TextBox 25">
            <a:hlinkClick r:id="rId12" action="ppaction://hlinksldjump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064985" y="2448943"/>
            <a:ext cx="884805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fr-FR" sz="1200" i="1" dirty="0">
                <a:latin typeface="+mn-lt"/>
              </a:rPr>
              <a:t>Lettre d’engagement</a:t>
            </a:r>
          </a:p>
        </p:txBody>
      </p:sp>
      <p:sp>
        <p:nvSpPr>
          <p:cNvPr id="27" name="TextBox 18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345832" y="1810247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fr-FR" sz="1800" dirty="0">
                <a:latin typeface="+mn-lt"/>
              </a:rPr>
              <a:t>4</a:t>
            </a:r>
          </a:p>
        </p:txBody>
      </p:sp>
      <p:sp>
        <p:nvSpPr>
          <p:cNvPr id="28" name="TextBox 27">
            <a:hlinkClick r:id="rId12" action="ppaction://hlinksldjump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1142632" y="1623557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/>
          <a:p>
            <a:pPr algn="ctr"/>
            <a:r>
              <a:rPr lang="fr-FR" sz="1800" dirty="0">
                <a:latin typeface="+mn-lt"/>
              </a:rPr>
              <a:t>2</a:t>
            </a:r>
          </a:p>
        </p:txBody>
      </p:sp>
      <p:sp>
        <p:nvSpPr>
          <p:cNvPr id="29" name="TextBox 28">
            <a:hlinkClick r:id="rId13" action="ppaction://hlinksldjump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813410" y="2129743"/>
            <a:ext cx="9583428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fr-FR" sz="1400">
                <a:solidFill>
                  <a:srgbClr val="404040"/>
                </a:solidFill>
                <a:latin typeface="+mn-lt"/>
              </a:rPr>
              <a:t>President</a:t>
            </a:r>
          </a:p>
        </p:txBody>
      </p:sp>
      <p:sp>
        <p:nvSpPr>
          <p:cNvPr id="30" name="TextBox 29">
            <a:hlinkClick r:id="rId13" action="ppaction://hlinksldjump"/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1331409" y="2129743"/>
            <a:ext cx="336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216000" tIns="45720" rIns="216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60000"/>
              <a:buFont typeface="Garamond" pitchFamily="18" charset="0"/>
            </a:pPr>
            <a:r>
              <a:rPr lang="fr-FR" sz="1000" b="1" i="1" kern="1200" dirty="0">
                <a:solidFill>
                  <a:schemeClr val="tx1"/>
                </a:solidFill>
                <a:effectLst/>
                <a:latin typeface="+mn-lt"/>
                <a:ea typeface="+mj-ea"/>
                <a:cs typeface="+mj-cs"/>
              </a:rPr>
              <a:t>1.1</a:t>
            </a:r>
          </a:p>
        </p:txBody>
      </p:sp>
      <p:sp>
        <p:nvSpPr>
          <p:cNvPr id="31" name="TextBox 30">
            <a:hlinkClick r:id="rId13" action="ppaction://hlinksldjump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1142632" y="1975299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/>
          <a:p>
            <a:pPr algn="ctr"/>
            <a:r>
              <a:rPr lang="fr-FR" sz="1400" dirty="0">
                <a:latin typeface="+mn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2891035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3" name="Text Placeholder 4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59111" y="1637331"/>
            <a:ext cx="465600" cy="3492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squar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60000"/>
              <a:buFont typeface="Garamond" pitchFamily="18" charset="0"/>
            </a:pPr>
            <a:r>
              <a:rPr lang="fr-FR" sz="1400" b="1" kern="1200" dirty="0">
                <a:solidFill>
                  <a:schemeClr val="tx1"/>
                </a:solidFill>
                <a:effectLst/>
                <a:latin typeface="+mn-lt"/>
                <a:ea typeface="+mj-ea"/>
                <a:cs typeface="+mj-cs"/>
              </a:rPr>
              <a:t>1</a:t>
            </a:r>
          </a:p>
        </p:txBody>
      </p:sp>
      <p:sp>
        <p:nvSpPr>
          <p:cNvPr id="24" name="ZoneTexte 20"/>
          <p:cNvSpPr txBox="1"/>
          <p:nvPr userDrawn="1">
            <p:custDataLst>
              <p:tags r:id="rId2"/>
            </p:custDataLst>
          </p:nvPr>
        </p:nvSpPr>
        <p:spPr>
          <a:xfrm>
            <a:off x="1331409" y="1600981"/>
            <a:ext cx="9581627" cy="349702"/>
          </a:xfrm>
          <a:prstGeom prst="rect">
            <a:avLst/>
          </a:prstGeom>
          <a:noFill/>
        </p:spPr>
        <p:txBody>
          <a:bodyPr vert="horz" wrap="square" lIns="0" tIns="36000" rIns="0" bIns="36000" rtlCol="0" anchor="ctr" anchorCtr="0">
            <a:spAutoFit/>
          </a:bodyPr>
          <a:lstStyle/>
          <a:p>
            <a:r>
              <a:rPr lang="fr-FR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PSLIDE</a:t>
            </a:r>
          </a:p>
        </p:txBody>
      </p:sp>
      <p:sp>
        <p:nvSpPr>
          <p:cNvPr id="25" name="Rectangle 24"/>
          <p:cNvSpPr/>
          <p:nvPr userDrawn="1">
            <p:custDataLst>
              <p:tags r:id="rId3"/>
            </p:custDataLst>
          </p:nvPr>
        </p:nvSpPr>
        <p:spPr>
          <a:xfrm>
            <a:off x="362857" y="1643743"/>
            <a:ext cx="11379200" cy="4626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6" name="TextBox 25">
            <a:hlinkClick r:id="rId12" action="ppaction://hlinksldjump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064985" y="2448943"/>
            <a:ext cx="8848051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fr-FR" sz="1200" i="1" dirty="0">
                <a:latin typeface="+mn-lt"/>
              </a:rPr>
              <a:t>Lettre d’engagement</a:t>
            </a:r>
          </a:p>
        </p:txBody>
      </p:sp>
      <p:sp>
        <p:nvSpPr>
          <p:cNvPr id="27" name="TextBox 26">
            <a:hlinkClick r:id="rId12" action="ppaction://hlinksldjump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142632" y="1623557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/>
          <a:p>
            <a:pPr algn="ctr"/>
            <a:r>
              <a:rPr lang="fr-FR" sz="1800">
                <a:latin typeface="+mn-lt"/>
              </a:rPr>
              <a:t>2</a:t>
            </a:r>
            <a:endParaRPr lang="fr-FR" sz="1800" dirty="0">
              <a:latin typeface="+mn-lt"/>
            </a:endParaRPr>
          </a:p>
        </p:txBody>
      </p:sp>
      <p:sp>
        <p:nvSpPr>
          <p:cNvPr id="28" name="TextBox 27">
            <a:hlinkClick r:id="rId13" action="ppaction://hlinksldjump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1345832" y="2416121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/>
          <a:p>
            <a:pPr algn="ctr"/>
            <a:r>
              <a:rPr lang="fr-FR" sz="1200">
                <a:latin typeface="+mn-lt"/>
              </a:rPr>
              <a:t>6</a:t>
            </a:r>
            <a:endParaRPr lang="fr-FR" sz="1200" dirty="0">
              <a:latin typeface="+mn-lt"/>
            </a:endParaRPr>
          </a:p>
        </p:txBody>
      </p:sp>
      <p:sp>
        <p:nvSpPr>
          <p:cNvPr id="29" name="TextBox 28">
            <a:hlinkClick r:id="rId13" action="ppaction://hlinksldjump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813410" y="2129743"/>
            <a:ext cx="9583428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fr-FR" sz="1400">
                <a:solidFill>
                  <a:srgbClr val="404040"/>
                </a:solidFill>
                <a:latin typeface="+mn-lt"/>
              </a:rPr>
              <a:t>President</a:t>
            </a:r>
          </a:p>
        </p:txBody>
      </p:sp>
      <p:sp>
        <p:nvSpPr>
          <p:cNvPr id="30" name="TextBox 29">
            <a:hlinkClick r:id="rId13" action="ppaction://hlinksldjump"/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1331409" y="2129743"/>
            <a:ext cx="336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216000" tIns="45720" rIns="216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60000"/>
              <a:buFont typeface="Garamond" pitchFamily="18" charset="0"/>
            </a:pPr>
            <a:r>
              <a:rPr lang="fr-FR" sz="1000" b="1" i="1" kern="1200" dirty="0">
                <a:solidFill>
                  <a:schemeClr val="tx1"/>
                </a:solidFill>
                <a:effectLst/>
                <a:latin typeface="+mn-lt"/>
                <a:ea typeface="+mj-ea"/>
                <a:cs typeface="+mj-cs"/>
              </a:rPr>
              <a:t>1.1</a:t>
            </a:r>
          </a:p>
        </p:txBody>
      </p:sp>
      <p:sp>
        <p:nvSpPr>
          <p:cNvPr id="31" name="TextBox 30">
            <a:hlinkClick r:id="rId13" action="ppaction://hlinksldjump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1142632" y="1975299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/>
          <a:p>
            <a:pPr algn="ctr"/>
            <a:r>
              <a:rPr lang="fr-FR" sz="1400">
                <a:latin typeface="+mn-lt"/>
              </a:rPr>
              <a:t>6</a:t>
            </a:r>
            <a:endParaRPr lang="fr-FR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55651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Divider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8" name="Text Placeholder 4"/>
          <p:cNvSpPr txBox="1"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359111" y="1637331"/>
            <a:ext cx="465600" cy="3492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square" lIns="216000" tIns="45720" rIns="21600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80000"/>
              <a:defRPr lang="en-US" sz="1400" b="1" kern="1200" dirty="0">
                <a:solidFill>
                  <a:srgbClr val="376092"/>
                </a:solidFill>
                <a:latin typeface="Garamond" pitchFamily="18" charset="0"/>
                <a:ea typeface="+mj-ea"/>
                <a:cs typeface="+mj-cs"/>
              </a:defRPr>
            </a:lvl1pPr>
            <a:lvl2pPr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Font typeface="Arial" charset="0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265113" indent="-265113" algn="l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Blip>
                <a:blip r:embed="rId11"/>
              </a:buBlip>
              <a:defRPr lang="en-US" sz="1400"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446088" indent="-180975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4pPr>
            <a:lvl5pPr marL="627063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Garamond" pitchFamily="18" charset="0"/>
                <a:ea typeface="+mj-ea"/>
                <a:cs typeface="+mj-cs"/>
              </a:defRPr>
            </a:lvl5pPr>
            <a:lvl6pPr marL="627063" marR="0" indent="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89013" marR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Tx/>
              <a:buFont typeface="Garamond" pitchFamily="18" charset="0"/>
              <a:buChar char="−"/>
              <a:tabLst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1169988" indent="-180975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1339850" indent="-169863" algn="l" defTabSz="914400" rtl="0" eaLnBrk="1" latinLnBrk="0" hangingPunct="1">
              <a:spcBef>
                <a:spcPct val="20000"/>
              </a:spcBef>
              <a:buFont typeface="Garamond" pitchFamily="18" charset="0"/>
              <a:buChar char="−"/>
              <a:defRPr lang="en-US" sz="1400" kern="1200" baseline="0" dirty="0" smtClean="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pPr algn="ctr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60000"/>
              <a:buFont typeface="Garamond" pitchFamily="18" charset="0"/>
            </a:pPr>
            <a:r>
              <a:rPr lang="fr-FR" sz="1400" b="1" kern="1200" dirty="0">
                <a:solidFill>
                  <a:schemeClr val="tx1"/>
                </a:solidFill>
                <a:effectLst/>
                <a:latin typeface="+mn-lt"/>
                <a:ea typeface="+mj-ea"/>
                <a:cs typeface="+mj-cs"/>
              </a:rPr>
              <a:t>1</a:t>
            </a:r>
          </a:p>
        </p:txBody>
      </p:sp>
      <p:sp>
        <p:nvSpPr>
          <p:cNvPr id="29" name="ZoneTexte 20"/>
          <p:cNvSpPr txBox="1"/>
          <p:nvPr userDrawn="1">
            <p:custDataLst>
              <p:tags r:id="rId2"/>
            </p:custDataLst>
          </p:nvPr>
        </p:nvSpPr>
        <p:spPr>
          <a:xfrm>
            <a:off x="1331409" y="1600981"/>
            <a:ext cx="9581627" cy="349702"/>
          </a:xfrm>
          <a:prstGeom prst="rect">
            <a:avLst/>
          </a:prstGeom>
          <a:noFill/>
        </p:spPr>
        <p:txBody>
          <a:bodyPr vert="horz" wrap="square" lIns="0" tIns="36000" rIns="0" bIns="36000" rtlCol="0" anchor="ctr" anchorCtr="0">
            <a:spAutoFit/>
          </a:bodyPr>
          <a:lstStyle/>
          <a:p>
            <a:r>
              <a:rPr lang="fr-FR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PSLIDE</a:t>
            </a:r>
          </a:p>
        </p:txBody>
      </p:sp>
      <p:sp>
        <p:nvSpPr>
          <p:cNvPr id="30" name="Rectangle 29"/>
          <p:cNvSpPr/>
          <p:nvPr userDrawn="1">
            <p:custDataLst>
              <p:tags r:id="rId3"/>
            </p:custDataLst>
          </p:nvPr>
        </p:nvSpPr>
        <p:spPr>
          <a:xfrm>
            <a:off x="362857" y="1643743"/>
            <a:ext cx="11379200" cy="4626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1" name="TextBox 30">
            <a:hlinkClick r:id="rId12" action="ppaction://hlinksldjump"/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1142632" y="1623557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rIns="0" rtlCol="0" anchor="t" anchorCtr="1">
            <a:noAutofit/>
          </a:bodyPr>
          <a:lstStyle/>
          <a:p>
            <a:pPr algn="ctr"/>
            <a:r>
              <a:rPr lang="fr-FR" sz="1800" dirty="0">
                <a:latin typeface="+mn-lt"/>
              </a:rPr>
              <a:t>2</a:t>
            </a:r>
          </a:p>
        </p:txBody>
      </p:sp>
      <p:sp>
        <p:nvSpPr>
          <p:cNvPr id="32" name="TextBox 31">
            <a:hlinkClick r:id="" action="ppaction://noaction"/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1142632" y="1975299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/>
          <a:p>
            <a:pPr algn="ctr"/>
            <a:r>
              <a:rPr lang="en-GB" sz="1400">
                <a:latin typeface="+mn-lt"/>
              </a:rPr>
              <a:t>4</a:t>
            </a:r>
          </a:p>
        </p:txBody>
      </p:sp>
      <p:sp>
        <p:nvSpPr>
          <p:cNvPr id="33" name="TextBox 32">
            <a:hlinkClick r:id="rId12" action="ppaction://hlinksldjump"/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813409" y="2412943"/>
            <a:ext cx="9099627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r>
              <a:rPr lang="en-GB" sz="1200" i="1" dirty="0">
                <a:latin typeface="+mn-lt"/>
              </a:rPr>
              <a:t>Engagement letter</a:t>
            </a:r>
          </a:p>
        </p:txBody>
      </p:sp>
      <p:sp>
        <p:nvSpPr>
          <p:cNvPr id="34" name="TextBox 33">
            <a:hlinkClick r:id="" action="ppaction://noaction"/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1345832" y="2127699"/>
            <a:ext cx="368051" cy="369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vert="horz" wrap="none" lIns="0" tIns="0" rIns="0" bIns="0" rtlCol="0" anchor="b" anchorCtr="0">
            <a:noAutofit/>
          </a:bodyPr>
          <a:lstStyle/>
          <a:p>
            <a:pPr algn="ctr"/>
            <a:r>
              <a:rPr lang="en-GB" sz="1400">
                <a:latin typeface="+mn-lt"/>
              </a:rPr>
              <a:t>4</a:t>
            </a:r>
          </a:p>
        </p:txBody>
      </p:sp>
      <p:sp>
        <p:nvSpPr>
          <p:cNvPr id="35" name="TextBox 34">
            <a:hlinkClick r:id="" action="ppaction://noaction"/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1331409" y="2129743"/>
            <a:ext cx="336000" cy="252000"/>
          </a:xfrm>
          <a:prstGeom prst="roundRect">
            <a:avLst>
              <a:gd name="adj" fmla="val 6411"/>
            </a:avLst>
          </a:prstGeom>
          <a:noFill/>
          <a:effectLst/>
        </p:spPr>
        <p:txBody>
          <a:bodyPr vert="horz" wrap="none" lIns="216000" tIns="45720" rIns="21600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rtl="0" fontAlgn="base">
              <a:spcBef>
                <a:spcPct val="20000"/>
              </a:spcBef>
              <a:spcAft>
                <a:spcPct val="0"/>
              </a:spcAft>
              <a:buClr>
                <a:srgbClr val="376092"/>
              </a:buClr>
              <a:buSzPct val="60000"/>
              <a:buFont typeface="Garamond" pitchFamily="18" charset="0"/>
            </a:pPr>
            <a:r>
              <a:rPr lang="en-GB" sz="1000" b="1" i="1" kern="1200">
                <a:solidFill>
                  <a:schemeClr val="tx1"/>
                </a:solidFill>
                <a:effectLst/>
                <a:latin typeface="+mn-lt"/>
                <a:ea typeface="+mj-ea"/>
                <a:cs typeface="+mj-cs"/>
              </a:rPr>
              <a:t>1.1</a:t>
            </a:r>
            <a:endParaRPr lang="en-GB" sz="1000" b="1" i="1" kern="1200" dirty="0">
              <a:solidFill>
                <a:schemeClr val="tx1"/>
              </a:solidFill>
              <a:effectLst/>
              <a:latin typeface="+mn-lt"/>
              <a:ea typeface="+mj-ea"/>
              <a:cs typeface="+mj-cs"/>
            </a:endParaRPr>
          </a:p>
        </p:txBody>
      </p:sp>
      <p:sp>
        <p:nvSpPr>
          <p:cNvPr id="36" name="TextBox 35">
            <a:hlinkClick r:id="" action="ppaction://noaction"/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813409" y="2129743"/>
            <a:ext cx="9099627" cy="215444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GB" sz="1400">
                <a:solidFill>
                  <a:srgbClr val="404040"/>
                </a:solidFill>
                <a:latin typeface="+mn-lt"/>
              </a:rPr>
              <a:t>Test</a:t>
            </a:r>
          </a:p>
        </p:txBody>
      </p:sp>
    </p:spTree>
    <p:extLst>
      <p:ext uri="{BB962C8B-B14F-4D97-AF65-F5344CB8AC3E}">
        <p14:creationId xmlns:p14="http://schemas.microsoft.com/office/powerpoint/2010/main" val="11613819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minder shapes Stor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TextBox 8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/>
          <a:p>
            <a:pPr>
              <a:spcBef>
                <a:spcPct val="20000"/>
              </a:spcBef>
            </a:pPr>
            <a:r>
              <a:rPr lang="fr-FR" sz="1200" b="1">
                <a:solidFill>
                  <a:schemeClr val="bg1"/>
                </a:solidFill>
                <a:latin typeface="Century Gothic" pitchFamily="34" charset="0"/>
                <a:cs typeface="+mn-cs"/>
              </a:rPr>
              <a:t>Section Name</a:t>
            </a: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/>
          <a:p>
            <a:pPr algn="r">
              <a:spcBef>
                <a:spcPct val="20000"/>
              </a:spcBef>
            </a:pPr>
            <a:r>
              <a:rPr lang="fr-FR" sz="1200" i="1">
                <a:solidFill>
                  <a:schemeClr val="bg1"/>
                </a:solidFill>
                <a:latin typeface="Century Gothic" pitchFamily="34" charset="0"/>
                <a:cs typeface="+mn-cs"/>
              </a:rPr>
              <a:t>Sub Section Name</a:t>
            </a: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2280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015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Diapositive think-cell" r:id="rId4" imgW="420" imgH="403" progId="TCLayout.ActiveDocument.1">
                  <p:embed/>
                </p:oleObj>
              </mc:Choice>
              <mc:Fallback>
                <p:oleObj name="Diapositive think-cell" r:id="rId4" imgW="420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704279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914400" rtl="0" eaLnBrk="1" latinLnBrk="0" hangingPunct="1">
              <a:defRPr lang="fr-FR" sz="4000" kern="1200" dirty="0">
                <a:solidFill>
                  <a:srgbClr val="126C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lang="fr-FR" sz="2800" kern="1200" dirty="0">
                <a:solidFill>
                  <a:srgbClr val="126C68"/>
                </a:solidFill>
                <a:latin typeface="+mj-lt"/>
                <a:ea typeface="+mj-ea"/>
                <a:cs typeface="+mj-cs"/>
              </a:defRPr>
            </a:lvl1pPr>
            <a:lvl2pPr>
              <a:defRPr lang="fr-FR" sz="2400" kern="1200" dirty="0">
                <a:solidFill>
                  <a:srgbClr val="0D9E9B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bg2">
                    <a:lumMod val="50000"/>
                  </a:schemeClr>
                </a:solidFill>
              </a:defRPr>
            </a:lvl3pPr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fr-FR"/>
              <a:t>Juin 2018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fld id="{B806AEA6-B279-E449-8EE1-95019B9B4299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42938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Juin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Fauquet Innovation - Confidentiel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06AEA6-B279-E449-8EE1-95019B9B429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1622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3647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9647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3" b="14438"/>
          <a:stretch/>
        </p:blipFill>
        <p:spPr>
          <a:xfrm>
            <a:off x="-1" y="144000"/>
            <a:ext cx="12192000" cy="670427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1932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266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550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3537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451658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Diapositive think-cell" r:id="rId15" imgW="420" imgH="403" progId="TCLayout.ActiveDocument.1">
                  <p:embed/>
                </p:oleObj>
              </mc:Choice>
              <mc:Fallback>
                <p:oleObj name="Diapositive think-cell" r:id="rId15" imgW="420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714000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fr-FR" dirty="0"/>
              <a:t>Cliquez pour modifier les styles du texte du masque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fr-FR" dirty="0"/>
              <a:t>Deuxième niveau</a:t>
            </a:r>
          </a:p>
          <a:p>
            <a:pPr marL="1143000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fr-FR" dirty="0"/>
              <a:t>Troisième niveau</a:t>
            </a:r>
          </a:p>
          <a:p>
            <a:pPr marL="1600200" lvl="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fr-FR" dirty="0"/>
              <a:t>Quatrième niveau</a:t>
            </a:r>
          </a:p>
          <a:p>
            <a:pPr marL="2057400" lvl="4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</a:pPr>
            <a:r>
              <a:rPr lang="fr-FR" dirty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603437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6034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fld id="{B806AEA6-B279-E449-8EE1-95019B9B4299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60343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fr-FR"/>
              <a:t>Juin 2018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80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marL="0" algn="l" defTabSz="914400" rtl="0" eaLnBrk="1" latinLnBrk="0" hangingPunct="1">
        <a:lnSpc>
          <a:spcPct val="90000"/>
        </a:lnSpc>
        <a:spcBef>
          <a:spcPct val="0"/>
        </a:spcBef>
        <a:buNone/>
        <a:defRPr lang="fr-FR" sz="4000" kern="1200" dirty="0">
          <a:solidFill>
            <a:srgbClr val="126C68"/>
          </a:solidFill>
          <a:latin typeface="+mn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lang="fr-FR" sz="2800" b="0" kern="1200" dirty="0">
          <a:solidFill>
            <a:srgbClr val="126C68"/>
          </a:solidFill>
          <a:latin typeface="+mj-lt"/>
          <a:ea typeface="+mj-ea"/>
          <a:cs typeface="+mj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fr-FR" sz="2400" kern="1200" dirty="0">
          <a:solidFill>
            <a:srgbClr val="0D9E9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fr-FR" sz="2000" kern="1200" dirty="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fr-FR" sz="1800" kern="1200" dirty="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fr-FR" sz="1800" kern="1200" dirty="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>
            <a:grpSpLocks noChangeAspect="1"/>
          </p:cNvGrpSpPr>
          <p:nvPr userDrawn="1"/>
        </p:nvGrpSpPr>
        <p:grpSpPr>
          <a:xfrm>
            <a:off x="0" y="1927793"/>
            <a:ext cx="3361211" cy="3002414"/>
            <a:chOff x="-2" y="786630"/>
            <a:chExt cx="4437212" cy="5284741"/>
          </a:xfrm>
        </p:grpSpPr>
        <p:sp>
          <p:nvSpPr>
            <p:cNvPr id="7" name="Forme libre 7"/>
            <p:cNvSpPr/>
            <p:nvPr userDrawn="1"/>
          </p:nvSpPr>
          <p:spPr>
            <a:xfrm flipV="1">
              <a:off x="1042897" y="786630"/>
              <a:ext cx="3394313" cy="5284741"/>
            </a:xfrm>
            <a:custGeom>
              <a:avLst/>
              <a:gdLst>
                <a:gd name="connsiteX0" fmla="*/ 86885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869194 w 3333540"/>
                <a:gd name="connsiteY9" fmla="*/ 2720193 h 3559164"/>
                <a:gd name="connsiteX10" fmla="*/ 909661 w 3333540"/>
                <a:gd name="connsiteY10" fmla="*/ 2681749 h 3559164"/>
                <a:gd name="connsiteX11" fmla="*/ 869194 w 3333540"/>
                <a:gd name="connsiteY11" fmla="*/ 2720133 h 3559164"/>
                <a:gd name="connsiteX12" fmla="*/ 1047540 w 3333540"/>
                <a:gd name="connsiteY12" fmla="*/ 3559164 h 3559164"/>
                <a:gd name="connsiteX13" fmla="*/ 3333540 w 3333540"/>
                <a:gd name="connsiteY13" fmla="*/ 1779582 h 3559164"/>
                <a:gd name="connsiteX14" fmla="*/ 1047540 w 3333540"/>
                <a:gd name="connsiteY14" fmla="*/ 0 h 3559164"/>
                <a:gd name="connsiteX15" fmla="*/ 1047540 w 3333540"/>
                <a:gd name="connsiteY15" fmla="*/ 999484 h 3559164"/>
                <a:gd name="connsiteX16" fmla="*/ 0 w 3333540"/>
                <a:gd name="connsiteY16" fmla="*/ 5862 h 3559164"/>
                <a:gd name="connsiteX17" fmla="*/ 0 w 3333540"/>
                <a:gd name="connsiteY17" fmla="*/ 3544590 h 3559164"/>
                <a:gd name="connsiteX18" fmla="*/ 869194 w 3333540"/>
                <a:gd name="connsiteY18" fmla="*/ 2720133 h 3559164"/>
                <a:gd name="connsiteX19" fmla="*/ 869194 w 3333540"/>
                <a:gd name="connsiteY19" fmla="*/ 2546457 h 3559164"/>
                <a:gd name="connsiteX20" fmla="*/ 1052074 w 3333540"/>
                <a:gd name="connsiteY20" fmla="*/ 2546457 h 3559164"/>
                <a:gd name="connsiteX21" fmla="*/ 909661 w 3333540"/>
                <a:gd name="connsiteY21" fmla="*/ 2681749 h 3559164"/>
                <a:gd name="connsiteX22" fmla="*/ 1047540 w 3333540"/>
                <a:gd name="connsiteY22" fmla="*/ 2550967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9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869194 w 3333540"/>
                <a:gd name="connsiteY13" fmla="*/ 2720193 h 3559164"/>
                <a:gd name="connsiteX14" fmla="*/ 1047540 w 3333540"/>
                <a:gd name="connsiteY14" fmla="*/ 3559164 h 3559164"/>
                <a:gd name="connsiteX15" fmla="*/ 3333540 w 3333540"/>
                <a:gd name="connsiteY15" fmla="*/ 1779582 h 3559164"/>
                <a:gd name="connsiteX16" fmla="*/ 1047540 w 3333540"/>
                <a:gd name="connsiteY16" fmla="*/ 0 h 3559164"/>
                <a:gd name="connsiteX17" fmla="*/ 1047540 w 3333540"/>
                <a:gd name="connsiteY17" fmla="*/ 999484 h 3559164"/>
                <a:gd name="connsiteX18" fmla="*/ 0 w 3333540"/>
                <a:gd name="connsiteY18" fmla="*/ 5862 h 3559164"/>
                <a:gd name="connsiteX19" fmla="*/ 0 w 3333540"/>
                <a:gd name="connsiteY19" fmla="*/ 3544590 h 3559164"/>
                <a:gd name="connsiteX20" fmla="*/ 869194 w 3333540"/>
                <a:gd name="connsiteY20" fmla="*/ 2720133 h 3559164"/>
                <a:gd name="connsiteX21" fmla="*/ 869194 w 3333540"/>
                <a:gd name="connsiteY21" fmla="*/ 2546457 h 3559164"/>
                <a:gd name="connsiteX22" fmla="*/ 1052074 w 3333540"/>
                <a:gd name="connsiteY22" fmla="*/ 2546457 h 3559164"/>
                <a:gd name="connsiteX23" fmla="*/ 909661 w 3333540"/>
                <a:gd name="connsiteY23" fmla="*/ 2681749 h 3559164"/>
                <a:gd name="connsiteX24" fmla="*/ 1047540 w 3333540"/>
                <a:gd name="connsiteY24" fmla="*/ 2550967 h 3559164"/>
                <a:gd name="connsiteX25" fmla="*/ 1047540 w 3333540"/>
                <a:gd name="connsiteY25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9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869194 w 3333540"/>
                <a:gd name="connsiteY13" fmla="*/ 2720193 h 3559164"/>
                <a:gd name="connsiteX14" fmla="*/ 1047540 w 3333540"/>
                <a:gd name="connsiteY14" fmla="*/ 3559164 h 3559164"/>
                <a:gd name="connsiteX15" fmla="*/ 3333540 w 3333540"/>
                <a:gd name="connsiteY15" fmla="*/ 1779582 h 3559164"/>
                <a:gd name="connsiteX16" fmla="*/ 1047540 w 3333540"/>
                <a:gd name="connsiteY16" fmla="*/ 0 h 3559164"/>
                <a:gd name="connsiteX17" fmla="*/ 1047540 w 3333540"/>
                <a:gd name="connsiteY17" fmla="*/ 999484 h 3559164"/>
                <a:gd name="connsiteX18" fmla="*/ 0 w 3333540"/>
                <a:gd name="connsiteY18" fmla="*/ 5862 h 3559164"/>
                <a:gd name="connsiteX19" fmla="*/ 0 w 3333540"/>
                <a:gd name="connsiteY19" fmla="*/ 3544590 h 3559164"/>
                <a:gd name="connsiteX20" fmla="*/ 869194 w 3333540"/>
                <a:gd name="connsiteY20" fmla="*/ 2720133 h 3559164"/>
                <a:gd name="connsiteX21" fmla="*/ 1052074 w 3333540"/>
                <a:gd name="connsiteY21" fmla="*/ 2546457 h 3559164"/>
                <a:gd name="connsiteX22" fmla="*/ 909661 w 3333540"/>
                <a:gd name="connsiteY22" fmla="*/ 2681749 h 3559164"/>
                <a:gd name="connsiteX23" fmla="*/ 1047540 w 3333540"/>
                <a:gd name="connsiteY23" fmla="*/ 2550967 h 3559164"/>
                <a:gd name="connsiteX24" fmla="*/ 1047540 w 3333540"/>
                <a:gd name="connsiteY24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9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869194 w 3333540"/>
                <a:gd name="connsiteY13" fmla="*/ 2720193 h 3559164"/>
                <a:gd name="connsiteX14" fmla="*/ 1047540 w 3333540"/>
                <a:gd name="connsiteY14" fmla="*/ 3559164 h 3559164"/>
                <a:gd name="connsiteX15" fmla="*/ 3333540 w 3333540"/>
                <a:gd name="connsiteY15" fmla="*/ 1779582 h 3559164"/>
                <a:gd name="connsiteX16" fmla="*/ 1047540 w 3333540"/>
                <a:gd name="connsiteY16" fmla="*/ 0 h 3559164"/>
                <a:gd name="connsiteX17" fmla="*/ 1047540 w 3333540"/>
                <a:gd name="connsiteY17" fmla="*/ 999484 h 3559164"/>
                <a:gd name="connsiteX18" fmla="*/ 0 w 3333540"/>
                <a:gd name="connsiteY18" fmla="*/ 5862 h 3559164"/>
                <a:gd name="connsiteX19" fmla="*/ 0 w 3333540"/>
                <a:gd name="connsiteY19" fmla="*/ 3544590 h 3559164"/>
                <a:gd name="connsiteX20" fmla="*/ 1052074 w 3333540"/>
                <a:gd name="connsiteY20" fmla="*/ 2546457 h 3559164"/>
                <a:gd name="connsiteX21" fmla="*/ 909661 w 3333540"/>
                <a:gd name="connsiteY21" fmla="*/ 2681749 h 3559164"/>
                <a:gd name="connsiteX22" fmla="*/ 1047540 w 3333540"/>
                <a:gd name="connsiteY22" fmla="*/ 2550967 h 3559164"/>
                <a:gd name="connsiteX23" fmla="*/ 1047540 w 3333540"/>
                <a:gd name="connsiteY23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869194 w 3333540"/>
                <a:gd name="connsiteY10" fmla="*/ 2720133 h 3559164"/>
                <a:gd name="connsiteX11" fmla="*/ 909661 w 3333540"/>
                <a:gd name="connsiteY11" fmla="*/ 2681749 h 3559164"/>
                <a:gd name="connsiteX12" fmla="*/ 869194 w 3333540"/>
                <a:gd name="connsiteY12" fmla="*/ 2720133 h 3559164"/>
                <a:gd name="connsiteX13" fmla="*/ 1047540 w 3333540"/>
                <a:gd name="connsiteY13" fmla="*/ 3559164 h 3559164"/>
                <a:gd name="connsiteX14" fmla="*/ 3333540 w 3333540"/>
                <a:gd name="connsiteY14" fmla="*/ 1779582 h 3559164"/>
                <a:gd name="connsiteX15" fmla="*/ 1047540 w 3333540"/>
                <a:gd name="connsiteY15" fmla="*/ 0 h 3559164"/>
                <a:gd name="connsiteX16" fmla="*/ 1047540 w 3333540"/>
                <a:gd name="connsiteY16" fmla="*/ 999484 h 3559164"/>
                <a:gd name="connsiteX17" fmla="*/ 0 w 3333540"/>
                <a:gd name="connsiteY17" fmla="*/ 5862 h 3559164"/>
                <a:gd name="connsiteX18" fmla="*/ 0 w 3333540"/>
                <a:gd name="connsiteY18" fmla="*/ 3544590 h 3559164"/>
                <a:gd name="connsiteX19" fmla="*/ 1052074 w 3333540"/>
                <a:gd name="connsiteY19" fmla="*/ 2546457 h 3559164"/>
                <a:gd name="connsiteX20" fmla="*/ 909661 w 3333540"/>
                <a:gd name="connsiteY20" fmla="*/ 2681749 h 3559164"/>
                <a:gd name="connsiteX21" fmla="*/ 1047540 w 3333540"/>
                <a:gd name="connsiteY21" fmla="*/ 2550967 h 3559164"/>
                <a:gd name="connsiteX22" fmla="*/ 1047540 w 3333540"/>
                <a:gd name="connsiteY22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1047540 w 3333540"/>
                <a:gd name="connsiteY10" fmla="*/ 3559164 h 3559164"/>
                <a:gd name="connsiteX11" fmla="*/ 3333540 w 3333540"/>
                <a:gd name="connsiteY11" fmla="*/ 1779582 h 3559164"/>
                <a:gd name="connsiteX12" fmla="*/ 1047540 w 3333540"/>
                <a:gd name="connsiteY12" fmla="*/ 0 h 3559164"/>
                <a:gd name="connsiteX13" fmla="*/ 1047540 w 3333540"/>
                <a:gd name="connsiteY13" fmla="*/ 999484 h 3559164"/>
                <a:gd name="connsiteX14" fmla="*/ 0 w 3333540"/>
                <a:gd name="connsiteY14" fmla="*/ 5862 h 3559164"/>
                <a:gd name="connsiteX15" fmla="*/ 0 w 3333540"/>
                <a:gd name="connsiteY15" fmla="*/ 3544590 h 3559164"/>
                <a:gd name="connsiteX16" fmla="*/ 1052074 w 3333540"/>
                <a:gd name="connsiteY16" fmla="*/ 2546457 h 3559164"/>
                <a:gd name="connsiteX17" fmla="*/ 909661 w 3333540"/>
                <a:gd name="connsiteY17" fmla="*/ 2681749 h 3559164"/>
                <a:gd name="connsiteX18" fmla="*/ 1047540 w 3333540"/>
                <a:gd name="connsiteY18" fmla="*/ 2550967 h 3559164"/>
                <a:gd name="connsiteX19" fmla="*/ 1047540 w 3333540"/>
                <a:gd name="connsiteY19" fmla="*/ 3559164 h 3559164"/>
                <a:gd name="connsiteX0" fmla="*/ 1051736 w 3333540"/>
                <a:gd name="connsiteY0" fmla="*/ 1004375 h 3559164"/>
                <a:gd name="connsiteX1" fmla="*/ 868856 w 3333540"/>
                <a:gd name="connsiteY1" fmla="*/ 830639 h 3559164"/>
                <a:gd name="connsiteX2" fmla="*/ 1051736 w 3333540"/>
                <a:gd name="connsiteY2" fmla="*/ 1004375 h 3559164"/>
                <a:gd name="connsiteX3" fmla="*/ 1469264 w 3333540"/>
                <a:gd name="connsiteY3" fmla="*/ 2607677 h 3559164"/>
                <a:gd name="connsiteX4" fmla="*/ 1469264 w 3333540"/>
                <a:gd name="connsiteY4" fmla="*/ 2150950 h 3559164"/>
                <a:gd name="connsiteX5" fmla="*/ 1865376 w 3333540"/>
                <a:gd name="connsiteY5" fmla="*/ 1775226 h 3559164"/>
                <a:gd name="connsiteX6" fmla="*/ 1469264 w 3333540"/>
                <a:gd name="connsiteY6" fmla="*/ 1399502 h 3559164"/>
                <a:gd name="connsiteX7" fmla="*/ 1469264 w 3333540"/>
                <a:gd name="connsiteY7" fmla="*/ 951493 h 3559164"/>
                <a:gd name="connsiteX8" fmla="*/ 2529968 w 3333540"/>
                <a:gd name="connsiteY8" fmla="*/ 1779585 h 3559164"/>
                <a:gd name="connsiteX9" fmla="*/ 1469264 w 3333540"/>
                <a:gd name="connsiteY9" fmla="*/ 2607677 h 3559164"/>
                <a:gd name="connsiteX10" fmla="*/ 1047540 w 3333540"/>
                <a:gd name="connsiteY10" fmla="*/ 3559164 h 3559164"/>
                <a:gd name="connsiteX11" fmla="*/ 3333540 w 3333540"/>
                <a:gd name="connsiteY11" fmla="*/ 1779582 h 3559164"/>
                <a:gd name="connsiteX12" fmla="*/ 1047540 w 3333540"/>
                <a:gd name="connsiteY12" fmla="*/ 0 h 3559164"/>
                <a:gd name="connsiteX13" fmla="*/ 1047540 w 3333540"/>
                <a:gd name="connsiteY13" fmla="*/ 999484 h 3559164"/>
                <a:gd name="connsiteX14" fmla="*/ 0 w 3333540"/>
                <a:gd name="connsiteY14" fmla="*/ 5862 h 3559164"/>
                <a:gd name="connsiteX15" fmla="*/ 0 w 3333540"/>
                <a:gd name="connsiteY15" fmla="*/ 3544590 h 3559164"/>
                <a:gd name="connsiteX16" fmla="*/ 1052074 w 3333540"/>
                <a:gd name="connsiteY16" fmla="*/ 2546457 h 3559164"/>
                <a:gd name="connsiteX17" fmla="*/ 1047540 w 3333540"/>
                <a:gd name="connsiteY17" fmla="*/ 2550967 h 3559164"/>
                <a:gd name="connsiteX18" fmla="*/ 1047540 w 3333540"/>
                <a:gd name="connsiteY18" fmla="*/ 3559164 h 3559164"/>
                <a:gd name="connsiteX0" fmla="*/ 1469264 w 3333540"/>
                <a:gd name="connsiteY0" fmla="*/ 2607677 h 3559164"/>
                <a:gd name="connsiteX1" fmla="*/ 1469264 w 3333540"/>
                <a:gd name="connsiteY1" fmla="*/ 2150950 h 3559164"/>
                <a:gd name="connsiteX2" fmla="*/ 1865376 w 3333540"/>
                <a:gd name="connsiteY2" fmla="*/ 1775226 h 3559164"/>
                <a:gd name="connsiteX3" fmla="*/ 1469264 w 3333540"/>
                <a:gd name="connsiteY3" fmla="*/ 1399502 h 3559164"/>
                <a:gd name="connsiteX4" fmla="*/ 1469264 w 3333540"/>
                <a:gd name="connsiteY4" fmla="*/ 951493 h 3559164"/>
                <a:gd name="connsiteX5" fmla="*/ 2529968 w 3333540"/>
                <a:gd name="connsiteY5" fmla="*/ 1779585 h 3559164"/>
                <a:gd name="connsiteX6" fmla="*/ 1469264 w 3333540"/>
                <a:gd name="connsiteY6" fmla="*/ 2607677 h 3559164"/>
                <a:gd name="connsiteX7" fmla="*/ 1047540 w 3333540"/>
                <a:gd name="connsiteY7" fmla="*/ 3559164 h 3559164"/>
                <a:gd name="connsiteX8" fmla="*/ 3333540 w 3333540"/>
                <a:gd name="connsiteY8" fmla="*/ 1779582 h 3559164"/>
                <a:gd name="connsiteX9" fmla="*/ 1047540 w 3333540"/>
                <a:gd name="connsiteY9" fmla="*/ 0 h 3559164"/>
                <a:gd name="connsiteX10" fmla="*/ 1047540 w 3333540"/>
                <a:gd name="connsiteY10" fmla="*/ 999484 h 3559164"/>
                <a:gd name="connsiteX11" fmla="*/ 0 w 3333540"/>
                <a:gd name="connsiteY11" fmla="*/ 5862 h 3559164"/>
                <a:gd name="connsiteX12" fmla="*/ 0 w 3333540"/>
                <a:gd name="connsiteY12" fmla="*/ 3544590 h 3559164"/>
                <a:gd name="connsiteX13" fmla="*/ 1052074 w 3333540"/>
                <a:gd name="connsiteY13" fmla="*/ 2546457 h 3559164"/>
                <a:gd name="connsiteX14" fmla="*/ 1047540 w 3333540"/>
                <a:gd name="connsiteY14" fmla="*/ 2550967 h 3559164"/>
                <a:gd name="connsiteX15" fmla="*/ 1047540 w 3333540"/>
                <a:gd name="connsiteY15" fmla="*/ 3559164 h 3559164"/>
                <a:gd name="connsiteX0" fmla="*/ 1469264 w 3333540"/>
                <a:gd name="connsiteY0" fmla="*/ 2607677 h 3559164"/>
                <a:gd name="connsiteX1" fmla="*/ 1469264 w 3333540"/>
                <a:gd name="connsiteY1" fmla="*/ 2150950 h 3559164"/>
                <a:gd name="connsiteX2" fmla="*/ 1865376 w 3333540"/>
                <a:gd name="connsiteY2" fmla="*/ 1775226 h 3559164"/>
                <a:gd name="connsiteX3" fmla="*/ 1469264 w 3333540"/>
                <a:gd name="connsiteY3" fmla="*/ 1399502 h 3559164"/>
                <a:gd name="connsiteX4" fmla="*/ 1469264 w 3333540"/>
                <a:gd name="connsiteY4" fmla="*/ 951493 h 3559164"/>
                <a:gd name="connsiteX5" fmla="*/ 2529968 w 3333540"/>
                <a:gd name="connsiteY5" fmla="*/ 1779585 h 3559164"/>
                <a:gd name="connsiteX6" fmla="*/ 1469264 w 3333540"/>
                <a:gd name="connsiteY6" fmla="*/ 2607677 h 3559164"/>
                <a:gd name="connsiteX7" fmla="*/ 1047540 w 3333540"/>
                <a:gd name="connsiteY7" fmla="*/ 3559164 h 3559164"/>
                <a:gd name="connsiteX8" fmla="*/ 3333540 w 3333540"/>
                <a:gd name="connsiteY8" fmla="*/ 1779582 h 3559164"/>
                <a:gd name="connsiteX9" fmla="*/ 1047540 w 3333540"/>
                <a:gd name="connsiteY9" fmla="*/ 0 h 3559164"/>
                <a:gd name="connsiteX10" fmla="*/ 1047540 w 3333540"/>
                <a:gd name="connsiteY10" fmla="*/ 999484 h 3559164"/>
                <a:gd name="connsiteX11" fmla="*/ 0 w 3333540"/>
                <a:gd name="connsiteY11" fmla="*/ 5862 h 3559164"/>
                <a:gd name="connsiteX12" fmla="*/ 0 w 3333540"/>
                <a:gd name="connsiteY12" fmla="*/ 3544590 h 3559164"/>
                <a:gd name="connsiteX13" fmla="*/ 1047540 w 3333540"/>
                <a:gd name="connsiteY13" fmla="*/ 2550967 h 3559164"/>
                <a:gd name="connsiteX14" fmla="*/ 1047540 w 3333540"/>
                <a:gd name="connsiteY14" fmla="*/ 3559164 h 3559164"/>
                <a:gd name="connsiteX0" fmla="*/ 1469264 w 3333540"/>
                <a:gd name="connsiteY0" fmla="*/ 2607677 h 3559164"/>
                <a:gd name="connsiteX1" fmla="*/ 1469264 w 3333540"/>
                <a:gd name="connsiteY1" fmla="*/ 2150950 h 3559164"/>
                <a:gd name="connsiteX2" fmla="*/ 1865376 w 3333540"/>
                <a:gd name="connsiteY2" fmla="*/ 1775226 h 3559164"/>
                <a:gd name="connsiteX3" fmla="*/ 1469264 w 3333540"/>
                <a:gd name="connsiteY3" fmla="*/ 1399502 h 3559164"/>
                <a:gd name="connsiteX4" fmla="*/ 1469264 w 3333540"/>
                <a:gd name="connsiteY4" fmla="*/ 951493 h 3559164"/>
                <a:gd name="connsiteX5" fmla="*/ 2529968 w 3333540"/>
                <a:gd name="connsiteY5" fmla="*/ 1779585 h 3559164"/>
                <a:gd name="connsiteX6" fmla="*/ 1469264 w 3333540"/>
                <a:gd name="connsiteY6" fmla="*/ 2607677 h 3559164"/>
                <a:gd name="connsiteX7" fmla="*/ 1047540 w 3333540"/>
                <a:gd name="connsiteY7" fmla="*/ 3559164 h 3559164"/>
                <a:gd name="connsiteX8" fmla="*/ 3333540 w 3333540"/>
                <a:gd name="connsiteY8" fmla="*/ 1779582 h 3559164"/>
                <a:gd name="connsiteX9" fmla="*/ 1047540 w 3333540"/>
                <a:gd name="connsiteY9" fmla="*/ 0 h 3559164"/>
                <a:gd name="connsiteX10" fmla="*/ 1047540 w 3333540"/>
                <a:gd name="connsiteY10" fmla="*/ 999484 h 3559164"/>
                <a:gd name="connsiteX11" fmla="*/ 0 w 3333540"/>
                <a:gd name="connsiteY11" fmla="*/ 5862 h 3559164"/>
                <a:gd name="connsiteX12" fmla="*/ 1047540 w 3333540"/>
                <a:gd name="connsiteY12" fmla="*/ 2550967 h 3559164"/>
                <a:gd name="connsiteX13" fmla="*/ 1047540 w 3333540"/>
                <a:gd name="connsiteY13" fmla="*/ 3559164 h 3559164"/>
                <a:gd name="connsiteX0" fmla="*/ 421724 w 2286000"/>
                <a:gd name="connsiteY0" fmla="*/ 2607677 h 3559164"/>
                <a:gd name="connsiteX1" fmla="*/ 421724 w 2286000"/>
                <a:gd name="connsiteY1" fmla="*/ 2150950 h 3559164"/>
                <a:gd name="connsiteX2" fmla="*/ 817836 w 2286000"/>
                <a:gd name="connsiteY2" fmla="*/ 1775226 h 3559164"/>
                <a:gd name="connsiteX3" fmla="*/ 421724 w 2286000"/>
                <a:gd name="connsiteY3" fmla="*/ 1399502 h 3559164"/>
                <a:gd name="connsiteX4" fmla="*/ 421724 w 2286000"/>
                <a:gd name="connsiteY4" fmla="*/ 951493 h 3559164"/>
                <a:gd name="connsiteX5" fmla="*/ 1482428 w 2286000"/>
                <a:gd name="connsiteY5" fmla="*/ 1779585 h 3559164"/>
                <a:gd name="connsiteX6" fmla="*/ 421724 w 2286000"/>
                <a:gd name="connsiteY6" fmla="*/ 2607677 h 3559164"/>
                <a:gd name="connsiteX7" fmla="*/ 0 w 2286000"/>
                <a:gd name="connsiteY7" fmla="*/ 3559164 h 3559164"/>
                <a:gd name="connsiteX8" fmla="*/ 2286000 w 2286000"/>
                <a:gd name="connsiteY8" fmla="*/ 1779582 h 3559164"/>
                <a:gd name="connsiteX9" fmla="*/ 0 w 2286000"/>
                <a:gd name="connsiteY9" fmla="*/ 0 h 3559164"/>
                <a:gd name="connsiteX10" fmla="*/ 0 w 2286000"/>
                <a:gd name="connsiteY10" fmla="*/ 999484 h 3559164"/>
                <a:gd name="connsiteX11" fmla="*/ 0 w 2286000"/>
                <a:gd name="connsiteY11" fmla="*/ 2550967 h 3559164"/>
                <a:gd name="connsiteX12" fmla="*/ 0 w 2286000"/>
                <a:gd name="connsiteY12" fmla="*/ 3559164 h 3559164"/>
                <a:gd name="connsiteX0" fmla="*/ 421724 w 2286000"/>
                <a:gd name="connsiteY0" fmla="*/ 2607677 h 3559164"/>
                <a:gd name="connsiteX1" fmla="*/ 421724 w 2286000"/>
                <a:gd name="connsiteY1" fmla="*/ 2150950 h 3559164"/>
                <a:gd name="connsiteX2" fmla="*/ 421724 w 2286000"/>
                <a:gd name="connsiteY2" fmla="*/ 1399502 h 3559164"/>
                <a:gd name="connsiteX3" fmla="*/ 421724 w 2286000"/>
                <a:gd name="connsiteY3" fmla="*/ 951493 h 3559164"/>
                <a:gd name="connsiteX4" fmla="*/ 1482428 w 2286000"/>
                <a:gd name="connsiteY4" fmla="*/ 1779585 h 3559164"/>
                <a:gd name="connsiteX5" fmla="*/ 421724 w 2286000"/>
                <a:gd name="connsiteY5" fmla="*/ 2607677 h 3559164"/>
                <a:gd name="connsiteX6" fmla="*/ 0 w 2286000"/>
                <a:gd name="connsiteY6" fmla="*/ 3559164 h 3559164"/>
                <a:gd name="connsiteX7" fmla="*/ 2286000 w 2286000"/>
                <a:gd name="connsiteY7" fmla="*/ 1779582 h 3559164"/>
                <a:gd name="connsiteX8" fmla="*/ 0 w 2286000"/>
                <a:gd name="connsiteY8" fmla="*/ 0 h 3559164"/>
                <a:gd name="connsiteX9" fmla="*/ 0 w 2286000"/>
                <a:gd name="connsiteY9" fmla="*/ 999484 h 3559164"/>
                <a:gd name="connsiteX10" fmla="*/ 0 w 2286000"/>
                <a:gd name="connsiteY10" fmla="*/ 2550967 h 3559164"/>
                <a:gd name="connsiteX11" fmla="*/ 0 w 2286000"/>
                <a:gd name="connsiteY11" fmla="*/ 3559164 h 3559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86000" h="3559164">
                  <a:moveTo>
                    <a:pt x="421724" y="2607677"/>
                  </a:moveTo>
                  <a:lnTo>
                    <a:pt x="421724" y="2150950"/>
                  </a:lnTo>
                  <a:lnTo>
                    <a:pt x="421724" y="1399502"/>
                  </a:lnTo>
                  <a:lnTo>
                    <a:pt x="421724" y="951493"/>
                  </a:lnTo>
                  <a:lnTo>
                    <a:pt x="1482428" y="1779585"/>
                  </a:lnTo>
                  <a:lnTo>
                    <a:pt x="421724" y="2607677"/>
                  </a:lnTo>
                  <a:close/>
                  <a:moveTo>
                    <a:pt x="0" y="3559164"/>
                  </a:moveTo>
                  <a:lnTo>
                    <a:pt x="2286000" y="1779582"/>
                  </a:lnTo>
                  <a:lnTo>
                    <a:pt x="0" y="0"/>
                  </a:lnTo>
                  <a:lnTo>
                    <a:pt x="0" y="999484"/>
                  </a:lnTo>
                  <a:lnTo>
                    <a:pt x="0" y="2550967"/>
                  </a:lnTo>
                  <a:lnTo>
                    <a:pt x="0" y="3559164"/>
                  </a:lnTo>
                  <a:close/>
                </a:path>
              </a:pathLst>
            </a:custGeom>
            <a:gradFill flip="none" rotWithShape="1">
              <a:gsLst>
                <a:gs pos="15000">
                  <a:srgbClr val="336699"/>
                </a:gs>
                <a:gs pos="63000">
                  <a:srgbClr val="0782BE"/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Forme libre 7"/>
            <p:cNvSpPr/>
            <p:nvPr userDrawn="1"/>
          </p:nvSpPr>
          <p:spPr>
            <a:xfrm rot="5400000">
              <a:off x="-1009262" y="2288754"/>
              <a:ext cx="4268672" cy="2250151"/>
            </a:xfrm>
            <a:custGeom>
              <a:avLst/>
              <a:gdLst>
                <a:gd name="connsiteX0" fmla="*/ 1759219 w 4268672"/>
                <a:gd name="connsiteY0" fmla="*/ 395471 h 2250151"/>
                <a:gd name="connsiteX1" fmla="*/ 2134335 w 4268672"/>
                <a:gd name="connsiteY1" fmla="*/ 0 h 2250151"/>
                <a:gd name="connsiteX2" fmla="*/ 2134337 w 4268672"/>
                <a:gd name="connsiteY2" fmla="*/ 0 h 2250151"/>
                <a:gd name="connsiteX3" fmla="*/ 2509452 w 4268672"/>
                <a:gd name="connsiteY3" fmla="*/ 395471 h 2250151"/>
                <a:gd name="connsiteX4" fmla="*/ 0 w 4268672"/>
                <a:gd name="connsiteY4" fmla="*/ 2250151 h 2250151"/>
                <a:gd name="connsiteX5" fmla="*/ 733075 w 4268672"/>
                <a:gd name="connsiteY5" fmla="*/ 1477297 h 2250151"/>
                <a:gd name="connsiteX6" fmla="*/ 3535598 w 4268672"/>
                <a:gd name="connsiteY6" fmla="*/ 1477297 h 2250151"/>
                <a:gd name="connsiteX7" fmla="*/ 4268672 w 4268672"/>
                <a:gd name="connsiteY7" fmla="*/ 2250151 h 2250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268672" h="2250151">
                  <a:moveTo>
                    <a:pt x="1759219" y="395471"/>
                  </a:moveTo>
                  <a:lnTo>
                    <a:pt x="2134335" y="0"/>
                  </a:lnTo>
                  <a:lnTo>
                    <a:pt x="2134337" y="0"/>
                  </a:lnTo>
                  <a:lnTo>
                    <a:pt x="2509452" y="395471"/>
                  </a:lnTo>
                  <a:close/>
                  <a:moveTo>
                    <a:pt x="0" y="2250151"/>
                  </a:moveTo>
                  <a:lnTo>
                    <a:pt x="733075" y="1477297"/>
                  </a:lnTo>
                  <a:lnTo>
                    <a:pt x="3535598" y="1477297"/>
                  </a:lnTo>
                  <a:lnTo>
                    <a:pt x="4268672" y="2250151"/>
                  </a:lnTo>
                  <a:close/>
                </a:path>
              </a:pathLst>
            </a:custGeom>
            <a:gradFill>
              <a:gsLst>
                <a:gs pos="0">
                  <a:srgbClr val="CC5011"/>
                </a:gs>
                <a:gs pos="82000">
                  <a:srgbClr val="EB5D16"/>
                </a:gs>
              </a:gsLst>
              <a:lin ang="2700000" scaled="1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Titre 3"/>
          <p:cNvSpPr txBox="1">
            <a:spLocks/>
          </p:cNvSpPr>
          <p:nvPr userDrawn="1"/>
        </p:nvSpPr>
        <p:spPr>
          <a:xfrm>
            <a:off x="3819691" y="2410261"/>
            <a:ext cx="7684245" cy="20374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UpSlide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 Table Of Content Master </a:t>
            </a: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Do not edit</a:t>
            </a:r>
          </a:p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782BE"/>
                </a:solidFill>
                <a:effectLst/>
                <a:uLnTx/>
                <a:uFillTx/>
                <a:latin typeface="Segoe UI Light" panose="020B0502040204020203" pitchFamily="34" charset="0"/>
                <a:ea typeface="+mj-ea"/>
                <a:cs typeface="Segoe UI Light" panose="020B0502040204020203" pitchFamily="34" charset="0"/>
              </a:rPr>
              <a:t>Do not delete</a:t>
            </a:r>
          </a:p>
        </p:txBody>
      </p:sp>
    </p:spTree>
    <p:extLst>
      <p:ext uri="{BB962C8B-B14F-4D97-AF65-F5344CB8AC3E}">
        <p14:creationId xmlns:p14="http://schemas.microsoft.com/office/powerpoint/2010/main" val="3750252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376092"/>
          </a:solidFill>
          <a:latin typeface="Garamond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Clr>
          <a:srgbClr val="376092"/>
        </a:buClr>
        <a:buSzPct val="80000"/>
        <a:defRPr lang="en-US" sz="1400" b="1" kern="1200" dirty="0">
          <a:solidFill>
            <a:srgbClr val="376092"/>
          </a:solidFill>
          <a:latin typeface="Garamond" pitchFamily="18" charset="0"/>
          <a:ea typeface="+mj-ea"/>
          <a:cs typeface="+mj-cs"/>
        </a:defRPr>
      </a:lvl1pPr>
      <a:lvl2pPr algn="l" rtl="0" fontAlgn="base">
        <a:spcBef>
          <a:spcPct val="20000"/>
        </a:spcBef>
        <a:spcAft>
          <a:spcPct val="0"/>
        </a:spcAft>
        <a:buClr>
          <a:srgbClr val="376092"/>
        </a:buClr>
        <a:buFont typeface="Arial" charset="0"/>
        <a:defRPr lang="en-US" sz="1400" kern="1200" dirty="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265113" indent="-265113" algn="l" rtl="0" fontAlgn="base">
        <a:spcBef>
          <a:spcPct val="20000"/>
        </a:spcBef>
        <a:spcAft>
          <a:spcPct val="0"/>
        </a:spcAft>
        <a:buClr>
          <a:srgbClr val="376092"/>
        </a:buClr>
        <a:buBlip>
          <a:blip r:embed="rId6"/>
        </a:buBlip>
        <a:defRPr lang="en-US" sz="1400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446088" indent="-180975" algn="l" rtl="0" fontAlgn="base">
        <a:spcBef>
          <a:spcPct val="20000"/>
        </a:spcBef>
        <a:spcAft>
          <a:spcPct val="0"/>
        </a:spcAft>
        <a:buFont typeface="Arial" charset="0"/>
        <a:buChar char="–"/>
        <a:defRPr lang="en-US" sz="1400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4pPr>
      <a:lvl5pPr marL="627063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Garamond" pitchFamily="18" charset="0"/>
          <a:ea typeface="+mj-ea"/>
          <a:cs typeface="+mj-cs"/>
        </a:defRPr>
      </a:lvl5pPr>
      <a:lvl6pPr marL="627063" marR="0" indent="18097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989013" marR="0" indent="-180975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2"/>
        </a:buClr>
        <a:buSzTx/>
        <a:buFont typeface="Garamond" pitchFamily="18" charset="0"/>
        <a:buChar char="−"/>
        <a:tabLst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7pPr>
      <a:lvl8pPr marL="1169988" indent="-180975" algn="l" defTabSz="914400" rtl="0" eaLnBrk="1" latinLnBrk="0" hangingPunct="1">
        <a:spcBef>
          <a:spcPct val="20000"/>
        </a:spcBef>
        <a:buFont typeface="Garamond" pitchFamily="18" charset="0"/>
        <a:buChar char="−"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8pPr>
      <a:lvl9pPr marL="1339850" indent="-169863" algn="l" defTabSz="914400" rtl="0" eaLnBrk="1" latinLnBrk="0" hangingPunct="1">
        <a:spcBef>
          <a:spcPct val="20000"/>
        </a:spcBef>
        <a:buFont typeface="Garamond" pitchFamily="18" charset="0"/>
        <a:buChar char="−"/>
        <a:defRPr lang="en-US" sz="1400" kern="1200" baseline="0" dirty="0" smtClean="0">
          <a:solidFill>
            <a:schemeClr val="tx1"/>
          </a:solidFill>
          <a:latin typeface="Garamond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hyperlink" Target="http://www.fauquet-innovation.fr/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27.png"/><Relationship Id="rId3" Type="http://schemas.openxmlformats.org/officeDocument/2006/relationships/tags" Target="../tags/tag70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2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5.png"/><Relationship Id="rId5" Type="http://schemas.openxmlformats.org/officeDocument/2006/relationships/tags" Target="../tags/tag72.xml"/><Relationship Id="rId10" Type="http://schemas.openxmlformats.org/officeDocument/2006/relationships/image" Target="../media/image24.png"/><Relationship Id="rId4" Type="http://schemas.openxmlformats.org/officeDocument/2006/relationships/tags" Target="../tags/tag71.xml"/><Relationship Id="rId9" Type="http://schemas.openxmlformats.org/officeDocument/2006/relationships/image" Target="../media/image2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chart" Target="../charts/chart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13.jpg"/><Relationship Id="rId3" Type="http://schemas.openxmlformats.org/officeDocument/2006/relationships/tags" Target="../tags/tag78.xml"/><Relationship Id="rId7" Type="http://schemas.openxmlformats.org/officeDocument/2006/relationships/image" Target="../media/image11.jpg"/><Relationship Id="rId12" Type="http://schemas.openxmlformats.org/officeDocument/2006/relationships/image" Target="../media/image38.gif"/><Relationship Id="rId2" Type="http://schemas.openxmlformats.org/officeDocument/2006/relationships/tags" Target="../tags/tag7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8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40.png"/><Relationship Id="rId10" Type="http://schemas.openxmlformats.org/officeDocument/2006/relationships/image" Target="../media/image36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5.jpeg"/><Relationship Id="rId14" Type="http://schemas.openxmlformats.org/officeDocument/2006/relationships/image" Target="../media/image3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emf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9.png"/><Relationship Id="rId4" Type="http://schemas.openxmlformats.org/officeDocument/2006/relationships/tags" Target="../tags/tag36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0.xml"/><Relationship Id="rId7" Type="http://schemas.openxmlformats.org/officeDocument/2006/relationships/image" Target="../media/image6.emf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5.xml"/><Relationship Id="rId7" Type="http://schemas.openxmlformats.org/officeDocument/2006/relationships/image" Target="../media/image6.emf"/><Relationship Id="rId2" Type="http://schemas.openxmlformats.org/officeDocument/2006/relationships/tags" Target="../tags/tag4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48.xml"/><Relationship Id="rId21" Type="http://schemas.openxmlformats.org/officeDocument/2006/relationships/image" Target="../media/image11.jpg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image" Target="../media/image14.pn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image" Target="../media/image10.jpe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image" Target="../media/image13.jpg"/><Relationship Id="rId10" Type="http://schemas.openxmlformats.org/officeDocument/2006/relationships/tags" Target="../tags/tag55.xml"/><Relationship Id="rId19" Type="http://schemas.openxmlformats.org/officeDocument/2006/relationships/oleObject" Target="../embeddings/oleObject7.bin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microsoft.com/office/2007/relationships/hdphoto" Target="../media/hdphoto1.wdp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6.png"/><Relationship Id="rId18" Type="http://schemas.openxmlformats.org/officeDocument/2006/relationships/image" Target="../media/image23.jpeg"/><Relationship Id="rId3" Type="http://schemas.openxmlformats.org/officeDocument/2006/relationships/tags" Target="../tags/tag66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21.png"/><Relationship Id="rId17" Type="http://schemas.openxmlformats.org/officeDocument/2006/relationships/image" Target="../media/image22.png"/><Relationship Id="rId2" Type="http://schemas.openxmlformats.org/officeDocument/2006/relationships/tags" Target="../tags/tag65.xml"/><Relationship Id="rId16" Type="http://schemas.openxmlformats.org/officeDocument/2006/relationships/image" Target="../media/image17.png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0.png"/><Relationship Id="rId5" Type="http://schemas.openxmlformats.org/officeDocument/2006/relationships/tags" Target="../tags/tag68.xml"/><Relationship Id="rId15" Type="http://schemas.openxmlformats.org/officeDocument/2006/relationships/image" Target="../media/image15.png"/><Relationship Id="rId10" Type="http://schemas.openxmlformats.org/officeDocument/2006/relationships/image" Target="../media/image19.png"/><Relationship Id="rId19" Type="http://schemas.openxmlformats.org/officeDocument/2006/relationships/image" Target="../media/image14.png"/><Relationship Id="rId4" Type="http://schemas.openxmlformats.org/officeDocument/2006/relationships/tags" Target="../tags/tag67.xml"/><Relationship Id="rId9" Type="http://schemas.openxmlformats.org/officeDocument/2006/relationships/image" Target="../media/image2.jpg"/><Relationship Id="rId1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0" y="6704279"/>
            <a:ext cx="12192000" cy="144000"/>
          </a:xfrm>
          <a:prstGeom prst="rect">
            <a:avLst/>
          </a:prstGeom>
          <a:solidFill>
            <a:srgbClr val="1EA5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58" y="873370"/>
            <a:ext cx="4322225" cy="1011665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960103" y="2697066"/>
            <a:ext cx="105124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cap="all" dirty="0">
                <a:solidFill>
                  <a:srgbClr val="126C68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URIFICATION DE Molécules COMPLEXES </a:t>
            </a:r>
          </a:p>
          <a:p>
            <a:pPr algn="ctr"/>
            <a:r>
              <a:rPr lang="fr-FR" sz="2000" cap="all" dirty="0">
                <a:solidFill>
                  <a:srgbClr val="126C68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ANS CHANGER D’EQUIPEMENT </a:t>
            </a:r>
          </a:p>
        </p:txBody>
      </p:sp>
      <p:sp>
        <p:nvSpPr>
          <p:cNvPr id="4" name="Rectangle 3"/>
          <p:cNvSpPr/>
          <p:nvPr/>
        </p:nvSpPr>
        <p:spPr>
          <a:xfrm>
            <a:off x="9078834" y="6399061"/>
            <a:ext cx="227337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05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  <a:hlinkClick r:id="rId4"/>
              </a:rPr>
              <a:t>http://www.fauquet-innovation.fr</a:t>
            </a:r>
            <a:r>
              <a:rPr lang="fr-FR" sz="1050" dirty="0"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 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58" y="5916589"/>
            <a:ext cx="952549" cy="50802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550658" y="3973284"/>
            <a:ext cx="3090684" cy="570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rgbClr val="126C68"/>
                </a:solidFill>
                <a:latin typeface="Lato" panose="020F0502020204030203" pitchFamily="34" charset="0"/>
              </a:rPr>
              <a:t>Série A : 1 million €</a:t>
            </a:r>
          </a:p>
        </p:txBody>
      </p:sp>
    </p:spTree>
    <p:extLst>
      <p:ext uri="{BB962C8B-B14F-4D97-AF65-F5344CB8AC3E}">
        <p14:creationId xmlns:p14="http://schemas.microsoft.com/office/powerpoint/2010/main" val="318179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96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0" name="Diapositive think-cell" r:id="rId7" imgW="393" imgH="394" progId="TCLayout.ActiveDocument.1">
                  <p:embed/>
                </p:oleObj>
              </mc:Choice>
              <mc:Fallback>
                <p:oleObj name="Diapositive think-cell" r:id="rId7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3A473CF-74E1-4901-9A1B-4E799FDD2B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 rotWithShape="1"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3" b="14438"/>
          <a:stretch/>
        </p:blipFill>
        <p:spPr>
          <a:xfrm>
            <a:off x="3175" y="0"/>
            <a:ext cx="12204000" cy="6700273"/>
          </a:xfrm>
          <a:prstGeom prst="rect">
            <a:avLst/>
          </a:prstGeom>
          <a:ln>
            <a:noFill/>
          </a:ln>
        </p:spPr>
      </p:pic>
      <p:sp>
        <p:nvSpPr>
          <p:cNvPr id="24" name="Flèche : pentagone 23">
            <a:extLst>
              <a:ext uri="{FF2B5EF4-FFF2-40B4-BE49-F238E27FC236}">
                <a16:creationId xmlns:a16="http://schemas.microsoft.com/office/drawing/2014/main" id="{6ADDC062-2B2D-457D-AB18-8464909BDC25}"/>
              </a:ext>
            </a:extLst>
          </p:cNvPr>
          <p:cNvSpPr/>
          <p:nvPr/>
        </p:nvSpPr>
        <p:spPr>
          <a:xfrm rot="10800000">
            <a:off x="533400" y="4257488"/>
            <a:ext cx="2316720" cy="394967"/>
          </a:xfrm>
          <a:prstGeom prst="homePlate">
            <a:avLst/>
          </a:prstGeom>
          <a:solidFill>
            <a:srgbClr val="E2F0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373954"/>
            <a:ext cx="10515600" cy="1325563"/>
          </a:xfrm>
        </p:spPr>
        <p:txBody>
          <a:bodyPr>
            <a:no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Fauquet Innovation cible trois secteurs pour lesquels son procédé est pertinent et lui assurera la réussite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846516" y="1868855"/>
            <a:ext cx="2498968" cy="471209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fr-FR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Secteurs ciblé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 Medium" panose="020F0502020204030203"/>
              </a:rPr>
              <a:t>Juin 2018</a:t>
            </a:r>
            <a:endParaRPr lang="fr-FR" dirty="0">
              <a:latin typeface="Lato Medium" panose="020F0502020204030203"/>
            </a:endParaRPr>
          </a:p>
        </p:txBody>
      </p:sp>
      <p:grpSp>
        <p:nvGrpSpPr>
          <p:cNvPr id="13" name="Groupe 12"/>
          <p:cNvGrpSpPr/>
          <p:nvPr/>
        </p:nvGrpSpPr>
        <p:grpSpPr>
          <a:xfrm>
            <a:off x="8158799" y="3157125"/>
            <a:ext cx="1198675" cy="681926"/>
            <a:chOff x="6547583" y="2171883"/>
            <a:chExt cx="540388" cy="295515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0530"/>
            <a:stretch/>
          </p:blipFill>
          <p:spPr>
            <a:xfrm>
              <a:off x="6547583" y="2171883"/>
              <a:ext cx="371857" cy="295515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378"/>
            <a:stretch/>
          </p:blipFill>
          <p:spPr>
            <a:xfrm>
              <a:off x="6793233" y="2202882"/>
              <a:ext cx="294738" cy="255310"/>
            </a:xfrm>
            <a:prstGeom prst="rect">
              <a:avLst/>
            </a:prstGeom>
          </p:spPr>
        </p:pic>
      </p:grpSp>
      <p:sp>
        <p:nvSpPr>
          <p:cNvPr id="11" name="Rectangle 10"/>
          <p:cNvSpPr/>
          <p:nvPr/>
        </p:nvSpPr>
        <p:spPr>
          <a:xfrm>
            <a:off x="4616996" y="2963299"/>
            <a:ext cx="2795862" cy="1046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Lato" panose="020F0502020204030203" pitchFamily="34" charset="0"/>
              </a:rPr>
              <a:t>Génériqu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413851" y="2954212"/>
            <a:ext cx="3965258" cy="1046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Lato" panose="020F0502020204030203" pitchFamily="34" charset="0"/>
              </a:rPr>
              <a:t>Biotechnologi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816278" y="5086420"/>
            <a:ext cx="8997496" cy="10027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buFont typeface="Arial"/>
              <a:buNone/>
            </a:pPr>
            <a:r>
              <a:rPr lang="fr-FR" sz="3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+mj-ea"/>
                <a:cs typeface="+mj-cs"/>
              </a:rPr>
              <a:t>Clients sécurisés pendant toute la durée du DMF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30" b="29352"/>
          <a:stretch/>
        </p:blipFill>
        <p:spPr>
          <a:xfrm>
            <a:off x="4330689" y="3171316"/>
            <a:ext cx="1154861" cy="702359"/>
          </a:xfrm>
          <a:prstGeom prst="rect">
            <a:avLst/>
          </a:prstGeom>
        </p:spPr>
      </p:pic>
      <p:cxnSp>
        <p:nvCxnSpPr>
          <p:cNvPr id="26" name="Connecteur droit 25"/>
          <p:cNvCxnSpPr/>
          <p:nvPr/>
        </p:nvCxnSpPr>
        <p:spPr>
          <a:xfrm flipV="1">
            <a:off x="735219" y="2322752"/>
            <a:ext cx="10721562" cy="3462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3401551" y="5086420"/>
            <a:ext cx="520904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8">
            <a:extLst>
              <a:ext uri="{FF2B5EF4-FFF2-40B4-BE49-F238E27FC236}">
                <a16:creationId xmlns:a16="http://schemas.microsoft.com/office/drawing/2014/main" id="{1785854C-E856-4CDF-837C-9B0DE2551F8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0" name="TextBox 8">
            <a:extLst>
              <a:ext uri="{FF2B5EF4-FFF2-40B4-BE49-F238E27FC236}">
                <a16:creationId xmlns:a16="http://schemas.microsoft.com/office/drawing/2014/main" id="{D32F0277-1DEF-4AA3-8C6F-FFF021834B68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F4D824E-315E-423A-BF0A-4CE94725DF4A}"/>
              </a:ext>
            </a:extLst>
          </p:cNvPr>
          <p:cNvSpPr/>
          <p:nvPr/>
        </p:nvSpPr>
        <p:spPr>
          <a:xfrm>
            <a:off x="724007" y="3346347"/>
            <a:ext cx="3064281" cy="357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Lato" panose="020F0502020204030203" pitchFamily="34" charset="0"/>
              </a:rPr>
              <a:t>Industrie Pharmaceutiqu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6483F225-8997-454E-BF58-C3E02A7C9F5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4482" y="3226091"/>
            <a:ext cx="612960" cy="612960"/>
          </a:xfrm>
          <a:prstGeom prst="rect">
            <a:avLst/>
          </a:prstGeom>
        </p:spPr>
      </p:pic>
      <p:sp>
        <p:nvSpPr>
          <p:cNvPr id="8" name="Flèche : pentagone 7">
            <a:extLst>
              <a:ext uri="{FF2B5EF4-FFF2-40B4-BE49-F238E27FC236}">
                <a16:creationId xmlns:a16="http://schemas.microsoft.com/office/drawing/2014/main" id="{B3014E3D-0CEF-4882-9906-758CF6F9F67D}"/>
              </a:ext>
            </a:extLst>
          </p:cNvPr>
          <p:cNvSpPr/>
          <p:nvPr/>
        </p:nvSpPr>
        <p:spPr>
          <a:xfrm>
            <a:off x="937038" y="4257488"/>
            <a:ext cx="10721562" cy="394967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Secteurs adressés notamment par l’intermédiaire de leurs sous-traitants</a:t>
            </a:r>
            <a:endParaRPr lang="fr-FR" dirty="0"/>
          </a:p>
        </p:txBody>
      </p:sp>
      <p:sp>
        <p:nvSpPr>
          <p:cNvPr id="16" name="Espace réservé du pied de page 15">
            <a:extLst>
              <a:ext uri="{FF2B5EF4-FFF2-40B4-BE49-F238E27FC236}">
                <a16:creationId xmlns:a16="http://schemas.microsoft.com/office/drawing/2014/main" id="{C7C48FF4-F104-4687-B492-93AD0F844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1991DDE-C56E-4D6D-9ED8-C0C241D12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62191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Diapositive think-cell" r:id="rId5" imgW="393" imgH="394" progId="TCLayout.ActiveDocument.1">
                  <p:embed/>
                </p:oleObj>
              </mc:Choice>
              <mc:Fallback>
                <p:oleObj name="Diapositive think-cell" r:id="rId5" imgW="393" imgH="394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5C4CFA6-09D3-4A94-8995-AA25A6A936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Fauquet Innovation lève €1 millions en </a:t>
            </a:r>
            <a:r>
              <a:rPr lang="fr-FR" sz="3200" b="1" dirty="0" err="1">
                <a:latin typeface="Lato" panose="020F0502020204030203" pitchFamily="34" charset="0"/>
              </a:rPr>
              <a:t>Equity</a:t>
            </a:r>
            <a:r>
              <a:rPr lang="fr-FR" sz="3200" b="1" dirty="0">
                <a:latin typeface="Lato" panose="020F0502020204030203" pitchFamily="34" charset="0"/>
              </a:rPr>
              <a:t> pour accélérer son développement commercial et lancer ses activités de production</a:t>
            </a:r>
          </a:p>
        </p:txBody>
      </p:sp>
      <p:graphicFrame>
        <p:nvGraphicFramePr>
          <p:cNvPr id="10" name="Graphique 9"/>
          <p:cNvGraphicFramePr/>
          <p:nvPr>
            <p:extLst/>
          </p:nvPr>
        </p:nvGraphicFramePr>
        <p:xfrm>
          <a:off x="838199" y="2539436"/>
          <a:ext cx="5705475" cy="4429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Tableau 10"/>
          <p:cNvGraphicFramePr>
            <a:graphicFrameLocks noGrp="1"/>
          </p:cNvGraphicFramePr>
          <p:nvPr>
            <p:extLst/>
          </p:nvPr>
        </p:nvGraphicFramePr>
        <p:xfrm>
          <a:off x="6567822" y="2262380"/>
          <a:ext cx="4794069" cy="2017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40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17602">
                <a:tc>
                  <a:txBody>
                    <a:bodyPr/>
                    <a:lstStyle/>
                    <a:p>
                      <a:pPr marL="285750" lvl="0" indent="-285750" algn="just">
                        <a:lnSpc>
                          <a:spcPct val="100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fr-FR" sz="13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Fauquet Innovation </a:t>
                      </a:r>
                      <a:r>
                        <a:rPr lang="fr-FR" sz="13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lève 1 millions d’euros en </a:t>
                      </a:r>
                      <a:r>
                        <a:rPr lang="fr-FR" sz="1300" b="1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Equity</a:t>
                      </a:r>
                      <a:r>
                        <a:rPr lang="fr-FR" sz="13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 </a:t>
                      </a:r>
                      <a:r>
                        <a:rPr lang="fr-FR" sz="13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our :</a:t>
                      </a:r>
                    </a:p>
                    <a:p>
                      <a:pPr marL="447675" lvl="1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Réaliser la certification de son outil</a:t>
                      </a:r>
                      <a:r>
                        <a:rPr lang="fr-FR" sz="1200" b="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 pilote</a:t>
                      </a:r>
                      <a:r>
                        <a:rPr lang="fr-FR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;</a:t>
                      </a:r>
                    </a:p>
                    <a:p>
                      <a:pPr marL="447675" lvl="1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Accélérer développement commercial avec notamment la constitution d’une équipe commerciale senior, expérimentée dans le domaine et déjà intégrée au réseau de décideurs ;</a:t>
                      </a:r>
                    </a:p>
                    <a:p>
                      <a:pPr marL="447675" lvl="1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fr-FR" sz="12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Recruter des responsables de production</a:t>
                      </a:r>
                    </a:p>
                    <a:p>
                      <a:pPr marL="447675" lvl="1" indent="-285750" algn="just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fr-FR" sz="12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Lato" panose="020F0502020204030203" pitchFamily="34" charset="0"/>
                        <a:ea typeface="Lato Medium" panose="020F0502020204030203" pitchFamily="34" charset="0"/>
                        <a:cs typeface="Lato Medium" panose="020F0502020204030203" pitchFamily="34" charset="0"/>
                      </a:endParaRPr>
                    </a:p>
                    <a:p>
                      <a:pPr marL="285750" marR="0" lvl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fr-FR" sz="13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En complément, </a:t>
                      </a:r>
                      <a:r>
                        <a:rPr lang="fr-FR" sz="1300" b="1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la BPI est prête à soutenir Fauquet Innovation en finançant au travers d’un prêt amorçage, </a:t>
                      </a:r>
                      <a:r>
                        <a:rPr lang="fr-FR" sz="13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l’achat de l’outil pilote à hauteur 500 000 euros</a:t>
                      </a:r>
                    </a:p>
                  </a:txBody>
                  <a:tcPr marR="9000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au 13"/>
          <p:cNvGraphicFramePr>
            <a:graphicFrameLocks noGrp="1"/>
          </p:cNvGraphicFramePr>
          <p:nvPr>
            <p:extLst/>
          </p:nvPr>
        </p:nvGraphicFramePr>
        <p:xfrm>
          <a:off x="838199" y="1811118"/>
          <a:ext cx="10515599" cy="297762"/>
        </p:xfrm>
        <a:graphic>
          <a:graphicData uri="http://schemas.openxmlformats.org/drawingml/2006/table">
            <a:tbl>
              <a:tblPr/>
              <a:tblGrid>
                <a:gridCol w="10515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6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ato" panose="020F0502020204030203" pitchFamily="34" charset="0"/>
                          <a:ea typeface="ＭＳ Ｐゴシック" pitchFamily="-1" charset="-128"/>
                          <a:cs typeface="ＭＳ Ｐゴシック" pitchFamily="-1" charset="-128"/>
                        </a:rPr>
                        <a:t>Prévisionnel </a:t>
                      </a:r>
                      <a:r>
                        <a:rPr kumimoji="0" 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Lato" panose="020F0502020204030203" pitchFamily="34" charset="0"/>
                          <a:ea typeface="ＭＳ Ｐゴシック" pitchFamily="-1" charset="-128"/>
                          <a:cs typeface="ＭＳ Ｐゴシック" pitchFamily="-1" charset="-128"/>
                        </a:rPr>
                        <a:t>(k€) – Lancement des activités commerciales et de productions dès 2018</a:t>
                      </a:r>
                      <a:endParaRPr kumimoji="0" lang="fr-FR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Lato" panose="020F0502020204030203" pitchFamily="34" charset="0"/>
                        <a:ea typeface="ＭＳ Ｐゴシック" pitchFamily="-1" charset="-128"/>
                        <a:cs typeface="ＭＳ Ｐゴシック" pitchFamily="-1" charset="-128"/>
                      </a:endParaRPr>
                    </a:p>
                  </a:txBody>
                  <a:tcPr marL="0" marR="0" marT="35948" marB="1797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Tableau 14"/>
          <p:cNvGraphicFramePr>
            <a:graphicFrameLocks noGrp="1"/>
          </p:cNvGraphicFramePr>
          <p:nvPr>
            <p:extLst/>
          </p:nvPr>
        </p:nvGraphicFramePr>
        <p:xfrm>
          <a:off x="547685" y="6133569"/>
          <a:ext cx="5421308" cy="251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44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7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73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73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73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737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96426">
                <a:tc>
                  <a:txBody>
                    <a:bodyPr/>
                    <a:lstStyle/>
                    <a:p>
                      <a:pPr eaLnBrk="1"/>
                      <a:r>
                        <a:rPr lang="fr-FR" sz="105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# ETP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eaLnBrk="1"/>
                      <a:r>
                        <a:rPr lang="fr-FR" sz="105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5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5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5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1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5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2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Tableau 15">
            <a:extLst>
              <a:ext uri="{FF2B5EF4-FFF2-40B4-BE49-F238E27FC236}">
                <a16:creationId xmlns:a16="http://schemas.microsoft.com/office/drawing/2014/main" id="{31EA9E2E-B1A8-4422-877C-3C4B3B851EE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543674" y="4556300"/>
          <a:ext cx="4785978" cy="18318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7859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650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Calibri" panose="020F0502020204030204" pitchFamily="34" charset="0"/>
                          <a:cs typeface="Rubik"/>
                        </a:rPr>
                        <a:t>Points clés</a:t>
                      </a: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5354"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fr-FR" sz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Le capital est détenu à 100% par son fondateur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fr-FR" sz="1200" b="1" kern="1200" noProof="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CA estimé en 2018 : 247k€ 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fr-FR" sz="1200" b="1" kern="1200" noProof="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Equilibre financier atteint en 2020 avec un CA supérieur à 2,5m€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fr-FR" sz="1200" b="1" kern="1200" noProof="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rocédé breveté en Europe et Amérique du nord</a:t>
                      </a:r>
                    </a:p>
                    <a:p>
                      <a:pPr marL="171450" indent="-171450"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lang="fr-FR" sz="1200" b="1" kern="1200" noProof="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eu de concurrents directs, par ailleurs peu adaptés aux petites productions</a:t>
                      </a:r>
                    </a:p>
                  </a:txBody>
                  <a:tcPr marL="68580" marR="68580" marT="7200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838198" y="5443064"/>
            <a:ext cx="609241" cy="311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graphicFrame>
        <p:nvGraphicFramePr>
          <p:cNvPr id="12" name="Tableau 11"/>
          <p:cNvGraphicFramePr>
            <a:graphicFrameLocks noGrp="1"/>
          </p:cNvGraphicFramePr>
          <p:nvPr>
            <p:extLst/>
          </p:nvPr>
        </p:nvGraphicFramePr>
        <p:xfrm>
          <a:off x="547680" y="5639555"/>
          <a:ext cx="5421313" cy="2514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17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39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39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939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939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39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51460">
                <a:tc>
                  <a:txBody>
                    <a:bodyPr/>
                    <a:lstStyle/>
                    <a:p>
                      <a:pPr eaLnBrk="1"/>
                      <a:r>
                        <a:rPr lang="fr-FR" sz="1000" i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Lato" panose="020F0502020204030203" pitchFamily="34" charset="0"/>
                        </a:rPr>
                        <a:t>%</a:t>
                      </a:r>
                      <a:r>
                        <a:rPr lang="fr-FR" sz="1000" i="1" baseline="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Lato" panose="020F0502020204030203" pitchFamily="34" charset="0"/>
                        </a:rPr>
                        <a:t> EBITDA/CA</a:t>
                      </a:r>
                      <a:endParaRPr lang="fr-FR" sz="1000" i="1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Lato" panose="020F050202020403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endParaRPr lang="fr-FR" sz="1000" i="1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Lato" panose="020F050202020403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i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Lato" panose="020F0502020204030203" pitchFamily="34" charset="0"/>
                        </a:rPr>
                        <a:t>-216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i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Lato" panose="020F0502020204030203" pitchFamily="34" charset="0"/>
                        </a:rPr>
                        <a:t>-55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i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Lato" panose="020F0502020204030203" pitchFamily="34" charset="0"/>
                        </a:rPr>
                        <a:t>27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/>
                      <a:r>
                        <a:rPr lang="fr-FR" sz="1000" i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Lato" panose="020F0502020204030203" pitchFamily="34" charset="0"/>
                        </a:rPr>
                        <a:t>49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" panose="020F0502020204030203" pitchFamily="34" charset="0"/>
              </a:rPr>
              <a:t>Juin 2018</a:t>
            </a:r>
            <a:endParaRPr lang="fr-FR" dirty="0">
              <a:latin typeface="Lato" panose="020F0502020204030203" pitchFamily="34" charset="0"/>
            </a:endParaRPr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8384FFF3-4D92-4EFA-8C26-A48B9D1759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80B7C8BF-C74B-4BB1-AD15-56F02E5C7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425690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Diapositive think-cell" r:id="rId4" imgW="694" imgH="693" progId="TCLayout.ActiveDocument.1">
                  <p:embed/>
                </p:oleObj>
              </mc:Choice>
              <mc:Fallback>
                <p:oleObj name="Diapositive think-cell" r:id="rId4" imgW="694" imgH="693" progId="TCLayout.ActiveDocument.1">
                  <p:embed/>
                  <p:pic>
                    <p:nvPicPr>
                      <p:cNvPr id="14" name="Obje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3" b="14438"/>
          <a:stretch/>
        </p:blipFill>
        <p:spPr>
          <a:xfrm>
            <a:off x="3175" y="2891103"/>
            <a:ext cx="12192000" cy="3824014"/>
          </a:xfrm>
          <a:prstGeom prst="rect">
            <a:avLst/>
          </a:prstGeom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L’équip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" panose="020F0502020204030203" pitchFamily="34" charset="0"/>
              </a:rPr>
              <a:t>Juin 2018</a:t>
            </a:r>
            <a:endParaRPr lang="fr-FR" dirty="0">
              <a:latin typeface="Lato" panose="020F050202020403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35823" y="1980189"/>
            <a:ext cx="3438519" cy="23636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algn="ctr"/>
            <a:endParaRPr lang="fr-FR" sz="1400" b="1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fr-FR" sz="1400" b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Nicolas FAUQUET, CEO</a:t>
            </a:r>
          </a:p>
          <a:p>
            <a:pPr>
              <a:spcBef>
                <a:spcPts val="600"/>
              </a:spcBef>
            </a:pPr>
            <a:endParaRPr lang="fr-FR" sz="11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Docteur en Pharmacie Industrielle </a:t>
            </a:r>
            <a:r>
              <a:rPr lang="fr-FR" sz="1100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ioMédicale</a:t>
            </a:r>
            <a:endParaRPr lang="fr-FR" sz="11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ncien interne AP-HP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aster Recherche </a:t>
            </a:r>
            <a:r>
              <a:rPr lang="fr-FR" sz="1100" i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« Isolement et recherche de principes actifs d’origine naturelle »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Gestion de la pharmacie de l’aéroport de Roissy CDG : 22 salariés, CA +38% 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uditeur ISO 9001</a:t>
            </a:r>
          </a:p>
        </p:txBody>
      </p:sp>
      <p:pic>
        <p:nvPicPr>
          <p:cNvPr id="8" name="Picture 59" descr="1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99" r="9575" b="28135"/>
          <a:stretch/>
        </p:blipFill>
        <p:spPr bwMode="auto">
          <a:xfrm>
            <a:off x="337341" y="1421452"/>
            <a:ext cx="872326" cy="893956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4538389" y="1980188"/>
            <a:ext cx="3438519" cy="2363601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algn="ctr"/>
            <a:endParaRPr lang="fr-FR" sz="1400" b="1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fr-FR" sz="1400" b="1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édéric</a:t>
            </a:r>
            <a:r>
              <a:rPr lang="fr-FR" sz="1400" b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  <a:r>
              <a:rPr lang="fr-FR" sz="1400" b="1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heviron</a:t>
            </a:r>
            <a:endParaRPr lang="fr-FR" sz="1400" b="1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fr-FR" sz="1400" b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Directeur Commercial</a:t>
            </a:r>
            <a:endParaRPr lang="fr-FR" sz="1400" b="1" baseline="300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endParaRPr lang="fr-FR" sz="105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fr-FR" sz="1050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25 ans d’expérience en tant qu’expert en développement marketing et commercial pour des solutions, produits, </a:t>
            </a:r>
            <a:r>
              <a:rPr lang="fr-FR" sz="1050" i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ocess</a:t>
            </a:r>
            <a:r>
              <a:rPr lang="fr-FR" sz="1050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et machines pour les industries pharmaceutiques et les entreprises des sciences du vivant</a:t>
            </a:r>
          </a:p>
          <a:p>
            <a:pPr algn="ctr"/>
            <a:endParaRPr lang="fr-FR" sz="1050" i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050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occard</a:t>
            </a:r>
            <a:r>
              <a:rPr lang="fr-FR" sz="105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  <a:r>
              <a:rPr lang="fr-FR" sz="1050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Health</a:t>
            </a:r>
            <a:r>
              <a:rPr lang="fr-FR" sz="105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&amp; Care, </a:t>
            </a:r>
            <a:r>
              <a:rPr lang="fr-FR" sz="1050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iosolve</a:t>
            </a:r>
            <a:r>
              <a:rPr lang="fr-FR" sz="105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Chimie, Chiral Technologies Europe, </a:t>
            </a:r>
            <a:r>
              <a:rPr lang="fr-FR" sz="1050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Novasep</a:t>
            </a:r>
            <a:endParaRPr lang="fr-FR" sz="105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endParaRPr lang="fr-FR" sz="12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440955" y="1980189"/>
            <a:ext cx="3438519" cy="2363601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algn="ctr"/>
            <a:endParaRPr lang="fr-FR" sz="1400" b="1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algn="ctr"/>
            <a:r>
              <a:rPr lang="fr-FR" sz="1400" b="1" dirty="0" err="1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léonor</a:t>
            </a:r>
            <a:r>
              <a:rPr lang="fr-FR" sz="1400" b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FAUQUET, Assistante de direction </a:t>
            </a:r>
          </a:p>
          <a:p>
            <a:pPr algn="ctr"/>
            <a:endParaRPr lang="fr-FR" sz="12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</a:rPr>
              <a:t>Docteur en médecine Vétérinair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</a:rPr>
              <a:t>Master 2 Recherche Biologie moléculaire et cellulaire (spécialité microbiologie)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</a:rPr>
              <a:t>Formée au logiciel de simulation de purification industriel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</a:rPr>
              <a:t>Auditrice qualité interne</a:t>
            </a:r>
          </a:p>
          <a:p>
            <a:pPr algn="ctr"/>
            <a:endParaRPr lang="fr-FR" sz="12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grpSp>
        <p:nvGrpSpPr>
          <p:cNvPr id="17" name="Groupe 16"/>
          <p:cNvGrpSpPr/>
          <p:nvPr/>
        </p:nvGrpSpPr>
        <p:grpSpPr>
          <a:xfrm>
            <a:off x="7953752" y="1362924"/>
            <a:ext cx="1109545" cy="932840"/>
            <a:chOff x="4884709" y="1853510"/>
            <a:chExt cx="1109545" cy="932840"/>
          </a:xfrm>
        </p:grpSpPr>
        <p:sp>
          <p:nvSpPr>
            <p:cNvPr id="18" name="Ellipse 17"/>
            <p:cNvSpPr/>
            <p:nvPr/>
          </p:nvSpPr>
          <p:spPr>
            <a:xfrm>
              <a:off x="5001377" y="1910142"/>
              <a:ext cx="876208" cy="87620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fr-FR">
                <a:latin typeface="Lato" panose="020F0502020204030203" pitchFamily="34" charset="0"/>
              </a:endParaRPr>
            </a:p>
          </p:txBody>
        </p:sp>
        <p:pic>
          <p:nvPicPr>
            <p:cNvPr id="19" name="Image 18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926"/>
            <a:stretch/>
          </p:blipFill>
          <p:spPr>
            <a:xfrm>
              <a:off x="4884709" y="1853510"/>
              <a:ext cx="1109545" cy="932840"/>
            </a:xfrm>
            <a:prstGeom prst="rect">
              <a:avLst/>
            </a:prstGeom>
            <a:noFill/>
          </p:spPr>
        </p:pic>
      </p:grpSp>
      <p:sp>
        <p:nvSpPr>
          <p:cNvPr id="22" name="Rectangle 21"/>
          <p:cNvSpPr/>
          <p:nvPr/>
        </p:nvSpPr>
        <p:spPr>
          <a:xfrm>
            <a:off x="635823" y="4593668"/>
            <a:ext cx="5298253" cy="1756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</a:p>
          <a:p>
            <a:pPr algn="ctr"/>
            <a:r>
              <a:rPr lang="fr-FR" sz="1400" b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omité Stratégique</a:t>
            </a:r>
          </a:p>
          <a:p>
            <a:pPr algn="ctr"/>
            <a:endParaRPr lang="fr-FR" sz="12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lain BODEL – Stratégie industrielle. </a:t>
            </a:r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ncien PDG de deux groupes industriels qu’il a portés vers l’internationalisation et l’entrée en bour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Hélène MARVILLET – Certification Pharmaceutique. </a:t>
            </a:r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ondatrice et </a:t>
            </a:r>
            <a:r>
              <a:rPr lang="fr-FR" sz="1100" i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x-présidente</a:t>
            </a:r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du premier système de certification pharmaceutique de Fr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Jacques WENIG – Finance. </a:t>
            </a:r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incipal J.H. Chapman Group Investment Bank - expert du marché Nord américain des ingrédients agro-alimentaire et de cessions de licences d’exploitation</a:t>
            </a:r>
          </a:p>
          <a:p>
            <a:pPr algn="ctr"/>
            <a:endParaRPr lang="fr-FR" sz="12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591301" y="4593668"/>
            <a:ext cx="5288174" cy="175632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</a:p>
          <a:p>
            <a:pPr algn="ctr"/>
            <a:r>
              <a:rPr lang="fr-FR" sz="1400" b="1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omité Scientifique</a:t>
            </a:r>
          </a:p>
          <a:p>
            <a:pPr algn="ctr"/>
            <a:endParaRPr lang="fr-FR" sz="1100" b="1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Alexandre MACIUK – Expert purification. </a:t>
            </a:r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Maître de conférence à l’Université</a:t>
            </a:r>
          </a:p>
          <a:p>
            <a:pPr marL="177800"/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aris-Sud 11 et membre de l’équipe de recherche sur la chimie des substances</a:t>
            </a:r>
          </a:p>
          <a:p>
            <a:pPr marL="177800"/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naturel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0D9E9B"/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Olivier MONASSON – Expert biotechnologie. </a:t>
            </a:r>
            <a:r>
              <a:rPr lang="fr-FR" sz="11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Ingénieur de recherche à l’Université de Cergy-Pontoise sur le thème de la synthèse, purification et caractérisation de peptid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EFEA4D28-3337-42BD-8D2F-EF24BF9F2D9A}"/>
              </a:ext>
            </a:extLst>
          </p:cNvPr>
          <p:cNvGrpSpPr/>
          <p:nvPr/>
        </p:nvGrpSpPr>
        <p:grpSpPr>
          <a:xfrm>
            <a:off x="4328527" y="1443562"/>
            <a:ext cx="835921" cy="874077"/>
            <a:chOff x="5985030" y="694558"/>
            <a:chExt cx="1152000" cy="1197926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A0486968-6A84-4513-9C08-01EB965F4C5D}"/>
                </a:ext>
              </a:extLst>
            </p:cNvPr>
            <p:cNvSpPr/>
            <p:nvPr/>
          </p:nvSpPr>
          <p:spPr>
            <a:xfrm>
              <a:off x="5985030" y="694558"/>
              <a:ext cx="1152000" cy="11808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6" name="Image 25">
              <a:extLst>
                <a:ext uri="{FF2B5EF4-FFF2-40B4-BE49-F238E27FC236}">
                  <a16:creationId xmlns:a16="http://schemas.microsoft.com/office/drawing/2014/main" id="{77D6A9A2-287F-43F1-B775-4896FB21B8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clrChange>
                <a:clrFrom>
                  <a:srgbClr val="F3F4F6"/>
                </a:clrFrom>
                <a:clrTo>
                  <a:srgbClr val="F3F4F6">
                    <a:alpha val="0"/>
                  </a:srgbClr>
                </a:clrTo>
              </a:clrChange>
            </a:blip>
            <a:srcRect l="24929" t="7185" r="5607" b="34847"/>
            <a:stretch/>
          </p:blipFill>
          <p:spPr>
            <a:xfrm>
              <a:off x="5985435" y="711684"/>
              <a:ext cx="1151595" cy="1180800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57B2517-BDD8-43FF-876C-A35989B36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55BBDC6C-495D-4929-8324-7D86DEDE6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505333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85D0DC2F-F233-47F4-B6A0-50E757F225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526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Diapositive think-cell" r:id="rId4" imgW="393" imgH="394" progId="TCLayout.ActiveDocument.1">
                  <p:embed/>
                </p:oleObj>
              </mc:Choice>
              <mc:Fallback>
                <p:oleObj name="Diapositive think-cell" r:id="rId4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00643852-2A8D-4E16-B2CB-B52BAF43E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ack-up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CABD1E1-7E89-4F75-8A18-D7031812E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C91AF46-7F6B-4A40-891F-6BA07F5D3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1642C617-BFAB-4657-B1E0-DF6EA5DC6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0987325-7B1D-4A81-AB7C-39FC35C00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17306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Business model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622425"/>
            <a:ext cx="10515600" cy="669925"/>
          </a:xfrm>
        </p:spPr>
        <p:txBody>
          <a:bodyPr/>
          <a:lstStyle/>
          <a:p>
            <a:pPr marL="0" indent="0">
              <a:buNone/>
            </a:pPr>
            <a:r>
              <a:rPr lang="fr-FR" dirty="0">
                <a:latin typeface="Lato" panose="020F0502020204030203" pitchFamily="34" charset="0"/>
              </a:rPr>
              <a:t>Le modèle économique repose sur trois produits :</a:t>
            </a:r>
          </a:p>
          <a:p>
            <a:pPr lvl="1"/>
            <a:endParaRPr lang="fr-FR" dirty="0">
              <a:latin typeface="Lato" panose="020F0502020204030203" pitchFamily="34" charset="0"/>
            </a:endParaRPr>
          </a:p>
          <a:p>
            <a:endParaRPr lang="fr-FR" dirty="0">
              <a:latin typeface="Lato" panose="020F0502020204030203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" panose="020F0502020204030203" pitchFamily="34" charset="0"/>
              </a:rPr>
              <a:t>Juin 2018</a:t>
            </a:r>
            <a:endParaRPr lang="fr-FR" dirty="0">
              <a:latin typeface="Lato" panose="020F050202020403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39788" y="2622550"/>
            <a:ext cx="3314700" cy="14922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Lato" panose="020F0502020204030203" pitchFamily="34" charset="0"/>
              </a:rPr>
              <a:t>Etude de purific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4439444" y="2952750"/>
            <a:ext cx="3314700" cy="14922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Lato" panose="020F0502020204030203" pitchFamily="34" charset="0"/>
              </a:rPr>
              <a:t>Production de lots pilote</a:t>
            </a:r>
          </a:p>
          <a:p>
            <a:pPr algn="ctr"/>
            <a:r>
              <a:rPr lang="fr-FR" sz="1100" dirty="0">
                <a:latin typeface="Lato" panose="020F0502020204030203" pitchFamily="34" charset="0"/>
              </a:rPr>
              <a:t>(soit sur le site du client</a:t>
            </a:r>
          </a:p>
          <a:p>
            <a:pPr algn="ctr"/>
            <a:r>
              <a:rPr lang="fr-FR" sz="1100" dirty="0">
                <a:latin typeface="Lato" panose="020F0502020204030203" pitchFamily="34" charset="0"/>
              </a:rPr>
              <a:t> soit sur le site de</a:t>
            </a:r>
          </a:p>
          <a:p>
            <a:pPr algn="ctr"/>
            <a:r>
              <a:rPr lang="fr-FR" sz="1100" dirty="0">
                <a:latin typeface="Lato" panose="020F0502020204030203" pitchFamily="34" charset="0"/>
              </a:rPr>
              <a:t> Fauquet Innovation)</a:t>
            </a:r>
          </a:p>
        </p:txBody>
      </p:sp>
      <p:sp>
        <p:nvSpPr>
          <p:cNvPr id="9" name="Rectangle 8"/>
          <p:cNvSpPr/>
          <p:nvPr/>
        </p:nvSpPr>
        <p:spPr>
          <a:xfrm>
            <a:off x="8039100" y="3259142"/>
            <a:ext cx="3314700" cy="14922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Lato" panose="020F0502020204030203" pitchFamily="34" charset="0"/>
              </a:rPr>
              <a:t>Licence d’exploitation</a:t>
            </a:r>
          </a:p>
          <a:p>
            <a:pPr algn="ctr"/>
            <a:r>
              <a:rPr lang="fr-FR" dirty="0">
                <a:latin typeface="Lato" panose="020F0502020204030203" pitchFamily="34" charset="0"/>
              </a:rPr>
              <a:t>+</a:t>
            </a:r>
          </a:p>
          <a:p>
            <a:pPr algn="ctr"/>
            <a:r>
              <a:rPr lang="fr-FR" dirty="0">
                <a:latin typeface="Lato" panose="020F0502020204030203" pitchFamily="34" charset="0"/>
              </a:rPr>
              <a:t>redevances associées</a:t>
            </a:r>
          </a:p>
        </p:txBody>
      </p:sp>
      <p:sp>
        <p:nvSpPr>
          <p:cNvPr id="10" name="Flèche courbée vers la gauche 9"/>
          <p:cNvSpPr/>
          <p:nvPr/>
        </p:nvSpPr>
        <p:spPr>
          <a:xfrm rot="16200000">
            <a:off x="4075438" y="1967031"/>
            <a:ext cx="308837" cy="850132"/>
          </a:xfrm>
          <a:prstGeom prst="curved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  <a:latin typeface="Lato" panose="020F0502020204030203" pitchFamily="34" charset="0"/>
            </a:endParaRPr>
          </a:p>
        </p:txBody>
      </p:sp>
      <p:sp>
        <p:nvSpPr>
          <p:cNvPr id="11" name="Flèche courbée vers la gauche 10"/>
          <p:cNvSpPr/>
          <p:nvPr/>
        </p:nvSpPr>
        <p:spPr>
          <a:xfrm rot="16200000">
            <a:off x="7884682" y="2287180"/>
            <a:ext cx="308837" cy="850132"/>
          </a:xfrm>
          <a:prstGeom prst="curved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  <a:latin typeface="Lato" panose="020F0502020204030203" pitchFamily="34" charset="0"/>
            </a:endParaRPr>
          </a:p>
        </p:txBody>
      </p:sp>
      <p:sp>
        <p:nvSpPr>
          <p:cNvPr id="12" name="Accolade fermante 11"/>
          <p:cNvSpPr/>
          <p:nvPr/>
        </p:nvSpPr>
        <p:spPr>
          <a:xfrm rot="5400000">
            <a:off x="4163881" y="1786725"/>
            <a:ext cx="266167" cy="6914355"/>
          </a:xfrm>
          <a:prstGeom prst="rightBrace">
            <a:avLst>
              <a:gd name="adj1" fmla="val 83412"/>
              <a:gd name="adj2" fmla="val 50876"/>
            </a:avLst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13" name="Flèche : droite 12"/>
          <p:cNvSpPr/>
          <p:nvPr/>
        </p:nvSpPr>
        <p:spPr>
          <a:xfrm>
            <a:off x="839788" y="5308599"/>
            <a:ext cx="6914354" cy="1073013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Lato" panose="020F0502020204030203" pitchFamily="34" charset="0"/>
              </a:rPr>
              <a:t>Produits d’appels  </a:t>
            </a:r>
          </a:p>
          <a:p>
            <a:pPr algn="ctr"/>
            <a:r>
              <a:rPr lang="fr-FR" sz="1400" i="1" dirty="0">
                <a:latin typeface="Lato" panose="020F0502020204030203" pitchFamily="34" charset="0"/>
              </a:rPr>
              <a:t>6 mois à un an depuis la vente d’une étude à la vente d’une licence d’exploita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039100" y="5308600"/>
            <a:ext cx="3314700" cy="857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latin typeface="Lato" panose="020F0502020204030203" pitchFamily="34" charset="0"/>
              </a:rPr>
              <a:t>Objectif : vendre une licence d’exploitation à un industriel avant qu’il ne rédige son DMF</a:t>
            </a:r>
            <a:r>
              <a:rPr lang="fr-FR" sz="1400" b="1" baseline="30000" dirty="0">
                <a:latin typeface="Lato" panose="020F0502020204030203" pitchFamily="34" charset="0"/>
              </a:rPr>
              <a:t>1</a:t>
            </a:r>
          </a:p>
        </p:txBody>
      </p:sp>
      <p:sp>
        <p:nvSpPr>
          <p:cNvPr id="15" name="Flèche vers le bas 14"/>
          <p:cNvSpPr/>
          <p:nvPr/>
        </p:nvSpPr>
        <p:spPr>
          <a:xfrm>
            <a:off x="8696649" y="4845050"/>
            <a:ext cx="247650" cy="311150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20" name="Secteurs 19"/>
          <p:cNvSpPr/>
          <p:nvPr/>
        </p:nvSpPr>
        <p:spPr>
          <a:xfrm>
            <a:off x="191096" y="2037095"/>
            <a:ext cx="1310084" cy="1181682"/>
          </a:xfrm>
          <a:prstGeom prst="pie">
            <a:avLst>
              <a:gd name="adj1" fmla="val 1934"/>
              <a:gd name="adj2" fmla="val 5381079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      </a:t>
            </a:r>
          </a:p>
          <a:p>
            <a:pPr algn="ctr"/>
            <a:r>
              <a:rPr lang="fr-FR" b="1" dirty="0">
                <a:solidFill>
                  <a:schemeClr val="accent1"/>
                </a:solidFill>
                <a:latin typeface="Lato" panose="020F0502020204030203" pitchFamily="34" charset="0"/>
              </a:rPr>
              <a:t>       1 </a:t>
            </a:r>
          </a:p>
        </p:txBody>
      </p:sp>
      <p:sp>
        <p:nvSpPr>
          <p:cNvPr id="21" name="Secteurs 20"/>
          <p:cNvSpPr/>
          <p:nvPr/>
        </p:nvSpPr>
        <p:spPr>
          <a:xfrm>
            <a:off x="3789482" y="2367328"/>
            <a:ext cx="1310084" cy="1181682"/>
          </a:xfrm>
          <a:prstGeom prst="pie">
            <a:avLst>
              <a:gd name="adj1" fmla="val 1934"/>
              <a:gd name="adj2" fmla="val 5381079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      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      </a:t>
            </a:r>
            <a:r>
              <a:rPr lang="fr-FR" b="1" dirty="0">
                <a:solidFill>
                  <a:schemeClr val="accent1"/>
                </a:solidFill>
                <a:latin typeface="Lato" panose="020F0502020204030203" pitchFamily="34" charset="0"/>
              </a:rPr>
              <a:t>2</a:t>
            </a:r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</a:t>
            </a:r>
          </a:p>
        </p:txBody>
      </p:sp>
      <p:sp>
        <p:nvSpPr>
          <p:cNvPr id="22" name="Secteurs 21"/>
          <p:cNvSpPr/>
          <p:nvPr/>
        </p:nvSpPr>
        <p:spPr>
          <a:xfrm>
            <a:off x="7389138" y="2677207"/>
            <a:ext cx="1310084" cy="1181682"/>
          </a:xfrm>
          <a:prstGeom prst="pie">
            <a:avLst>
              <a:gd name="adj1" fmla="val 1934"/>
              <a:gd name="adj2" fmla="val 5381079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      </a:t>
            </a:r>
          </a:p>
          <a:p>
            <a:pPr algn="ctr"/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      </a:t>
            </a:r>
            <a:r>
              <a:rPr lang="fr-FR" b="1" dirty="0">
                <a:solidFill>
                  <a:schemeClr val="accent1"/>
                </a:solidFill>
                <a:latin typeface="Lato" panose="020F0502020204030203" pitchFamily="34" charset="0"/>
              </a:rPr>
              <a:t>3</a:t>
            </a:r>
            <a:r>
              <a:rPr lang="fr-FR" dirty="0">
                <a:solidFill>
                  <a:schemeClr val="tx1"/>
                </a:solidFill>
                <a:latin typeface="Lato" panose="020F0502020204030203" pitchFamily="34" charset="0"/>
              </a:rPr>
              <a:t>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38200" y="6454040"/>
            <a:ext cx="4704862" cy="2422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Notes: (1) Drug Master File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76" b="21011"/>
          <a:stretch/>
        </p:blipFill>
        <p:spPr>
          <a:xfrm>
            <a:off x="641865" y="3224544"/>
            <a:ext cx="1143001" cy="849396"/>
          </a:xfrm>
          <a:prstGeom prst="rect">
            <a:avLst/>
          </a:prstGeom>
        </p:spPr>
      </p:pic>
      <p:pic>
        <p:nvPicPr>
          <p:cNvPr id="23" name="Image 2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05"/>
          <a:stretch/>
        </p:blipFill>
        <p:spPr>
          <a:xfrm>
            <a:off x="4453539" y="3768414"/>
            <a:ext cx="760743" cy="604748"/>
          </a:xfrm>
          <a:prstGeom prst="rect">
            <a:avLst/>
          </a:prstGeom>
        </p:spPr>
      </p:pic>
      <p:grpSp>
        <p:nvGrpSpPr>
          <p:cNvPr id="25" name="Groupe 24"/>
          <p:cNvGrpSpPr/>
          <p:nvPr/>
        </p:nvGrpSpPr>
        <p:grpSpPr>
          <a:xfrm>
            <a:off x="7977408" y="4114800"/>
            <a:ext cx="796862" cy="596102"/>
            <a:chOff x="7977408" y="4114800"/>
            <a:chExt cx="796862" cy="596102"/>
          </a:xfrm>
        </p:grpSpPr>
        <p:pic>
          <p:nvPicPr>
            <p:cNvPr id="19" name="Image 18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8357"/>
            <a:stretch/>
          </p:blipFill>
          <p:spPr>
            <a:xfrm>
              <a:off x="7977408" y="4114800"/>
              <a:ext cx="680539" cy="555612"/>
            </a:xfrm>
            <a:prstGeom prst="rect">
              <a:avLst/>
            </a:prstGeom>
          </p:spPr>
        </p:pic>
        <p:pic>
          <p:nvPicPr>
            <p:cNvPr id="24" name="Image 23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621"/>
            <a:stretch/>
          </p:blipFill>
          <p:spPr>
            <a:xfrm>
              <a:off x="8274660" y="4309320"/>
              <a:ext cx="499610" cy="401582"/>
            </a:xfrm>
            <a:prstGeom prst="rect">
              <a:avLst/>
            </a:prstGeom>
          </p:spPr>
        </p:pic>
      </p:grpSp>
      <p:sp>
        <p:nvSpPr>
          <p:cNvPr id="18" name="Rectangle 17"/>
          <p:cNvSpPr/>
          <p:nvPr/>
        </p:nvSpPr>
        <p:spPr>
          <a:xfrm>
            <a:off x="1704080" y="4114800"/>
            <a:ext cx="1586116" cy="414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Lato" panose="020F0502020204030203" pitchFamily="34" charset="0"/>
              </a:rPr>
              <a:t>30/50k€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302942" y="4442533"/>
            <a:ext cx="1586116" cy="414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Lato" panose="020F0502020204030203" pitchFamily="34" charset="0"/>
              </a:rPr>
              <a:t>100/250k€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F3CCD72-DBED-4515-8054-137107239944}"/>
              </a:ext>
            </a:extLst>
          </p:cNvPr>
          <p:cNvSpPr/>
          <p:nvPr/>
        </p:nvSpPr>
        <p:spPr>
          <a:xfrm>
            <a:off x="9111584" y="4742155"/>
            <a:ext cx="2619375" cy="414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Lato" panose="020F0502020204030203" pitchFamily="34" charset="0"/>
              </a:rPr>
              <a:t>(calculées en partage </a:t>
            </a:r>
          </a:p>
          <a:p>
            <a:pPr algn="ctr"/>
            <a:r>
              <a:rPr lang="fr-FR" sz="1400" b="1" i="1" dirty="0">
                <a:solidFill>
                  <a:schemeClr val="tx1"/>
                </a:solidFill>
                <a:latin typeface="Lato" panose="020F0502020204030203" pitchFamily="34" charset="0"/>
              </a:rPr>
              <a:t>de gains ou en royalties)</a:t>
            </a:r>
          </a:p>
        </p:txBody>
      </p:sp>
      <p:sp>
        <p:nvSpPr>
          <p:cNvPr id="26" name="Espace réservé du pied de page 25">
            <a:extLst>
              <a:ext uri="{FF2B5EF4-FFF2-40B4-BE49-F238E27FC236}">
                <a16:creationId xmlns:a16="http://schemas.microsoft.com/office/drawing/2014/main" id="{A2C3F0DF-EC10-4959-B877-BA6CCD1BBE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29" name="Espace réservé du numéro de diapositive 28">
            <a:extLst>
              <a:ext uri="{FF2B5EF4-FFF2-40B4-BE49-F238E27FC236}">
                <a16:creationId xmlns:a16="http://schemas.microsoft.com/office/drawing/2014/main" id="{93E35F92-360C-409C-A197-238A53884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18735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Diapositive think-cell" r:id="rId5" imgW="694" imgH="693" progId="TCLayout.ActiveDocument.1">
                  <p:embed/>
                </p:oleObj>
              </mc:Choice>
              <mc:Fallback>
                <p:oleObj name="Diapositive think-cell" r:id="rId5" imgW="694" imgH="693" progId="TCLayout.ActiveDocument.1">
                  <p:embed/>
                  <p:pic>
                    <p:nvPicPr>
                      <p:cNvPr id="17" name="Obje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135A610-1338-416D-8D0E-AF380A0412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1" dirty="0"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 rotWithShape="1">
          <a:blip r:embed="rId7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" r="52131"/>
          <a:stretch/>
        </p:blipFill>
        <p:spPr>
          <a:xfrm>
            <a:off x="4363" y="138223"/>
            <a:ext cx="5850108" cy="657203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2847" y="365125"/>
            <a:ext cx="11486777" cy="1325563"/>
          </a:xfrm>
        </p:spPr>
        <p:txBody>
          <a:bodyPr anchor="t">
            <a:noAutofit/>
          </a:bodyPr>
          <a:lstStyle/>
          <a:p>
            <a:r>
              <a:rPr lang="fr-FR" sz="2800" b="1" dirty="0">
                <a:latin typeface="Lato" panose="020F0502020204030203" pitchFamily="34" charset="0"/>
              </a:rPr>
              <a:t>Fauquet Innovation, société de "smart </a:t>
            </a:r>
            <a:r>
              <a:rPr lang="fr-FR" sz="2800" b="1" dirty="0" err="1">
                <a:latin typeface="Lato" panose="020F0502020204030203" pitchFamily="34" charset="0"/>
              </a:rPr>
              <a:t>industry</a:t>
            </a:r>
            <a:r>
              <a:rPr lang="fr-FR" sz="2800" b="1" dirty="0">
                <a:latin typeface="Lato" panose="020F0502020204030203" pitchFamily="34" charset="0"/>
              </a:rPr>
              <a:t>" fondée en  2013, développe de nouveaux procédés de purification. La phase de commercialisation commence au Q4 2017.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926404" y="1539631"/>
            <a:ext cx="6182027" cy="5006826"/>
          </a:xfrm>
        </p:spPr>
        <p:txBody>
          <a:bodyPr>
            <a:noAutofit/>
          </a:bodyPr>
          <a:lstStyle/>
          <a:p>
            <a:pPr marL="177800" lvl="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e brevet pour </a:t>
            </a:r>
            <a:r>
              <a:rPr lang="fr-FR" sz="1300" b="1" i="1" dirty="0">
                <a:latin typeface="Lato" panose="020F0502020204030203" pitchFamily="34" charset="0"/>
                <a:ea typeface="Lato Medium" panose="020F0502020204030203" pitchFamily="34" charset="0"/>
                <a:cs typeface="Times New Roman" panose="02020603050405020304" pitchFamily="18" charset="0"/>
              </a:rPr>
              <a:t>"</a:t>
            </a:r>
            <a:r>
              <a:rPr lang="fr-FR" sz="1300" b="1" i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océdé de séparation par chromatographie continue à haut débit"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est déposé en novembre 2010 et publié en novembre 2011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e procédé de purification de Nicolas </a:t>
            </a:r>
            <a:r>
              <a:rPr lang="fr-FR" sz="1300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commence à être testé en laboratoires partenaires affiliés au CNRS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Nicolas </a:t>
            </a:r>
            <a:r>
              <a:rPr lang="fr-FR" sz="1300" b="1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, docteur en pharmacie et ancien interne des hôpitaux de Paris en Pharmacie Industrielle et </a:t>
            </a:r>
            <a:r>
              <a:rPr lang="fr-FR" sz="1300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BioMédicale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,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onde la société </a:t>
            </a:r>
            <a:r>
              <a:rPr lang="fr-FR" sz="1300" b="1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Innovation 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t développe de nouveaux procédés de purification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Innovation intègre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’accélérateur de startups WILCO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Innovation 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est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auréat Île-de-France i-LAB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, concours national des entreprises innovantes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Innovation 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obtient le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tatut JEI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(Jeune Entreprise Innovante) 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Innovation 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obtient l’agrément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Crédit Impôt Recherche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es performances du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rocédé breveté                              </a:t>
            </a:r>
            <a:r>
              <a:rPr lang="fr-FR" sz="1300" b="1" baseline="300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®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ont été validées à l’échelle industrielle 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par la société YPSO Facto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Innovation réalise une première mondiale en purifiant avec son procédé une molécule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ans aucun solvant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 (</a:t>
            </a:r>
            <a:r>
              <a:rPr lang="fr-FR" sz="1300" dirty="0" err="1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Stévia</a:t>
            </a:r>
            <a:r>
              <a:rPr lang="fr-FR" sz="1300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) et </a:t>
            </a: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vend son premier outil pilote </a:t>
            </a: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Fauquet Innovation intègre l</a:t>
            </a:r>
            <a:r>
              <a:rPr lang="fr-FR" sz="1300" b="1" dirty="0">
                <a:latin typeface="Lato" panose="020F0502020204030203" pitchFamily="34" charset="0"/>
              </a:rPr>
              <a:t>e Pôle de compétitivité mondial </a:t>
            </a:r>
            <a:r>
              <a:rPr lang="fr-FR" sz="1300" b="1" dirty="0" err="1">
                <a:latin typeface="Lato" panose="020F0502020204030203" pitchFamily="34" charset="0"/>
              </a:rPr>
              <a:t>Medicen</a:t>
            </a:r>
            <a:endParaRPr lang="fr-FR" sz="1300" b="1" dirty="0">
              <a:latin typeface="Lato" panose="020F0502020204030203" pitchFamily="34" charset="0"/>
            </a:endParaRPr>
          </a:p>
          <a:p>
            <a:pPr marL="177800" indent="-177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300" b="1" dirty="0"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rPr>
              <a:t>Lancement de la phase de commercialisation avec plusieurs contrats avec les leader français de l’industrie pharmaceuti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" panose="020F0502020204030203" pitchFamily="34" charset="0"/>
              </a:rPr>
              <a:t>Juin 2018</a:t>
            </a:r>
            <a:endParaRPr lang="fr-FR" dirty="0">
              <a:latin typeface="Lato" panose="020F0502020204030203" pitchFamily="34" charset="0"/>
            </a:endParaRPr>
          </a:p>
        </p:txBody>
      </p:sp>
      <p:sp>
        <p:nvSpPr>
          <p:cNvPr id="8" name="Flèche vers le bas 7"/>
          <p:cNvSpPr/>
          <p:nvPr/>
        </p:nvSpPr>
        <p:spPr>
          <a:xfrm>
            <a:off x="4336031" y="1539632"/>
            <a:ext cx="835742" cy="5063806"/>
          </a:xfrm>
          <a:prstGeom prst="downArrow">
            <a:avLst>
              <a:gd name="adj1" fmla="val 50000"/>
              <a:gd name="adj2" fmla="val 3877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9" name="Ellipse 8"/>
          <p:cNvSpPr/>
          <p:nvPr/>
        </p:nvSpPr>
        <p:spPr>
          <a:xfrm>
            <a:off x="4691605" y="1666573"/>
            <a:ext cx="124594" cy="1245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10" name="Ellipse 9"/>
          <p:cNvSpPr/>
          <p:nvPr/>
        </p:nvSpPr>
        <p:spPr>
          <a:xfrm>
            <a:off x="4691605" y="2640032"/>
            <a:ext cx="124594" cy="1245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4691605" y="4741275"/>
            <a:ext cx="124594" cy="1245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055398" y="1588043"/>
            <a:ext cx="943897" cy="25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2011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055398" y="2576083"/>
            <a:ext cx="943897" cy="25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2013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058623" y="4675675"/>
            <a:ext cx="943897" cy="25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2016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446" y="2516226"/>
            <a:ext cx="2564219" cy="600184"/>
          </a:xfrm>
          <a:prstGeom prst="rect">
            <a:avLst/>
          </a:prstGeom>
        </p:spPr>
      </p:pic>
      <p:pic>
        <p:nvPicPr>
          <p:cNvPr id="16388" name="Picture 4" descr="stévia - définition - C&amp;#39;est quoi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100" y="4743093"/>
            <a:ext cx="1570935" cy="1046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Ellipse 18"/>
          <p:cNvSpPr/>
          <p:nvPr/>
        </p:nvSpPr>
        <p:spPr>
          <a:xfrm>
            <a:off x="4688619" y="4117001"/>
            <a:ext cx="124594" cy="1245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latin typeface="Lato" panose="020F0502020204030203" pitchFamily="34" charset="0"/>
              </a:rPr>
              <a:t>                                    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055637" y="4051401"/>
            <a:ext cx="943897" cy="25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2015</a:t>
            </a:r>
          </a:p>
        </p:txBody>
      </p:sp>
      <p:sp>
        <p:nvSpPr>
          <p:cNvPr id="21" name="Ellipse 20"/>
          <p:cNvSpPr/>
          <p:nvPr/>
        </p:nvSpPr>
        <p:spPr>
          <a:xfrm>
            <a:off x="4685636" y="3621673"/>
            <a:ext cx="124594" cy="1245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052654" y="3556073"/>
            <a:ext cx="943897" cy="25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2014</a:t>
            </a:r>
          </a:p>
        </p:txBody>
      </p:sp>
      <p:pic>
        <p:nvPicPr>
          <p:cNvPr id="23" name="Picture 20" descr="Image result for jeune entreprise innovante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5524" y="4183539"/>
            <a:ext cx="983899" cy="830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2" descr="Image result for credit impot recherch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1624" y="4261225"/>
            <a:ext cx="606106" cy="606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Image result for i-lab bpi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053" y="3735413"/>
            <a:ext cx="1149593" cy="364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Image 26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138" y="4656530"/>
            <a:ext cx="894665" cy="190419"/>
          </a:xfrm>
          <a:prstGeom prst="rect">
            <a:avLst/>
          </a:prstGeom>
        </p:spPr>
      </p:pic>
      <p:sp>
        <p:nvSpPr>
          <p:cNvPr id="26" name="Ellipse 25"/>
          <p:cNvSpPr/>
          <p:nvPr/>
        </p:nvSpPr>
        <p:spPr>
          <a:xfrm>
            <a:off x="4691605" y="5742345"/>
            <a:ext cx="124594" cy="12459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" panose="020F0502020204030203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058623" y="5676745"/>
            <a:ext cx="943897" cy="2524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Lato" panose="020F0502020204030203" pitchFamily="34" charset="0"/>
              </a:rPr>
              <a:t>2017</a:t>
            </a:r>
          </a:p>
        </p:txBody>
      </p:sp>
      <p:pic>
        <p:nvPicPr>
          <p:cNvPr id="16479" name="Picture 95" descr="Les partenaires de TEQOYA : bien-être, santé et innovation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8111" y="5874157"/>
            <a:ext cx="1326185" cy="527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14932" y="3170059"/>
            <a:ext cx="1744367" cy="463538"/>
          </a:xfrm>
          <a:prstGeom prst="rect">
            <a:avLst/>
          </a:prstGeom>
        </p:spPr>
      </p:pic>
      <p:sp>
        <p:nvSpPr>
          <p:cNvPr id="29" name="Espace réservé du pied de page 28">
            <a:extLst>
              <a:ext uri="{FF2B5EF4-FFF2-40B4-BE49-F238E27FC236}">
                <a16:creationId xmlns:a16="http://schemas.microsoft.com/office/drawing/2014/main" id="{7C5D13E1-1749-4DFB-959C-37166DA2D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D6A8A3AC-ABBB-47B5-91C7-9095BBEEF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021015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1954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4" name="Diapositive think-cell" r:id="rId6" imgW="393" imgH="394" progId="TCLayout.ActiveDocument.1">
                  <p:embed/>
                </p:oleObj>
              </mc:Choice>
              <mc:Fallback>
                <p:oleObj name="Diapositive think-cell" r:id="rId6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/>
        </p:nvSpPr>
        <p:spPr>
          <a:xfrm>
            <a:off x="1059995" y="1765400"/>
            <a:ext cx="10072010" cy="3865005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 algn="ctr"/>
            <a:endParaRPr lang="fr-FR" sz="1400" b="1">
              <a:solidFill>
                <a:srgbClr val="0D9E9B"/>
              </a:solidFill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0951129" cy="1325563"/>
          </a:xfrm>
        </p:spPr>
        <p:txBody>
          <a:bodyPr>
            <a:norm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La purification est l’étape de la production industrielle à plus forte valeur ajouté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 Medium" panose="020F0502020204030203"/>
              </a:rPr>
              <a:t>Juin 2018</a:t>
            </a:r>
            <a:endParaRPr lang="fr-FR" dirty="0">
              <a:latin typeface="Lato Medium" panose="020F0502020204030203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59994" y="5746049"/>
            <a:ext cx="10951129" cy="733723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r>
              <a:rPr lang="fr-FR" sz="2400" b="1" dirty="0">
                <a:solidFill>
                  <a:schemeClr val="accent2">
                    <a:lumMod val="75000"/>
                  </a:schemeClr>
                </a:solidFill>
                <a:effectLst/>
                <a:latin typeface="Lato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  <a:sym typeface="Wingdings" panose="05000000000000000000" pitchFamily="2" charset="2"/>
              </a:rPr>
              <a:t>Portée par la fabrication de molécules de plus en plus complexes, la purification peut représenter jusqu’à 70% du coût de production.</a:t>
            </a:r>
            <a:endParaRPr lang="fr-FR" sz="2400" b="1" dirty="0">
              <a:solidFill>
                <a:schemeClr val="accent2">
                  <a:lumMod val="75000"/>
                </a:schemeClr>
              </a:solidFill>
              <a:effectLst/>
              <a:latin typeface="Lato" panose="020F0502020204030203" pitchFamily="34" charset="0"/>
              <a:ea typeface="Lato Medium" panose="020F0502020204030203" pitchFamily="34" charset="0"/>
              <a:cs typeface="Lato Medium" panose="020F0502020204030203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65"/>
          <a:stretch/>
        </p:blipFill>
        <p:spPr>
          <a:xfrm>
            <a:off x="6932766" y="1986074"/>
            <a:ext cx="1915073" cy="163613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05"/>
          <a:stretch/>
        </p:blipFill>
        <p:spPr>
          <a:xfrm>
            <a:off x="3694315" y="2323656"/>
            <a:ext cx="1630502" cy="1296158"/>
          </a:xfrm>
          <a:prstGeom prst="rect">
            <a:avLst/>
          </a:prstGeom>
        </p:spPr>
      </p:pic>
      <p:pic>
        <p:nvPicPr>
          <p:cNvPr id="10" name="Picture 4" descr="City and County of Broomfield - Official Website ..."/>
          <p:cNvPicPr>
            <a:picLocks noChangeAspect="1" noChangeArrowheads="1"/>
          </p:cNvPicPr>
          <p:nvPr/>
        </p:nvPicPr>
        <p:blipFill>
          <a:blip r:embed="rId10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103" y="4484434"/>
            <a:ext cx="714042" cy="714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5369486" y="3188797"/>
            <a:ext cx="1540738" cy="2464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fr-FR" sz="1400" i="1" dirty="0">
                <a:solidFill>
                  <a:schemeClr val="tx1"/>
                </a:solidFill>
                <a:latin typeface="Lato" panose="020F0502020204030203" pitchFamily="34" charset="0"/>
              </a:rPr>
              <a:t>3 à 10%</a:t>
            </a:r>
          </a:p>
          <a:p>
            <a:pPr algn="ctr"/>
            <a:r>
              <a:rPr lang="fr-FR" sz="1400" i="1" dirty="0">
                <a:solidFill>
                  <a:schemeClr val="tx1"/>
                </a:solidFill>
                <a:latin typeface="Lato" panose="020F0502020204030203" pitchFamily="34" charset="0"/>
              </a:rPr>
              <a:t>du prix du produi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970931" y="4622172"/>
            <a:ext cx="1954983" cy="3508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rgbClr val="FF0000"/>
                </a:solidFill>
                <a:latin typeface="Lato" panose="020F0502020204030203" pitchFamily="34" charset="0"/>
              </a:rPr>
              <a:t>30 à 70% du coût de produc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966805" y="2933717"/>
            <a:ext cx="1607950" cy="247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i="1" dirty="0">
                <a:solidFill>
                  <a:schemeClr val="tx1"/>
                </a:solidFill>
                <a:latin typeface="Lato" panose="020F0502020204030203" pitchFamily="34" charset="0"/>
              </a:rPr>
              <a:t>Produit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864576" y="2840439"/>
            <a:ext cx="1785070" cy="4340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i="1" dirty="0">
                <a:solidFill>
                  <a:schemeClr val="tx1"/>
                </a:solidFill>
                <a:latin typeface="Lato" panose="020F0502020204030203" pitchFamily="34" charset="0"/>
              </a:rPr>
              <a:t>Produc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045073" y="4123676"/>
            <a:ext cx="1889585" cy="2474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i="1" dirty="0">
                <a:solidFill>
                  <a:schemeClr val="tx1"/>
                </a:solidFill>
                <a:latin typeface="Lato" panose="020F0502020204030203" pitchFamily="34" charset="0"/>
              </a:rPr>
              <a:t>Purification</a:t>
            </a:r>
          </a:p>
        </p:txBody>
      </p:sp>
      <p:cxnSp>
        <p:nvCxnSpPr>
          <p:cNvPr id="16" name="Connecteur droit avec flèche 15"/>
          <p:cNvCxnSpPr/>
          <p:nvPr/>
        </p:nvCxnSpPr>
        <p:spPr>
          <a:xfrm>
            <a:off x="4559379" y="3619813"/>
            <a:ext cx="8745" cy="66853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à coins arrondis 16"/>
          <p:cNvSpPr/>
          <p:nvPr/>
        </p:nvSpPr>
        <p:spPr>
          <a:xfrm>
            <a:off x="1864576" y="3810747"/>
            <a:ext cx="3594349" cy="1555420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cxnSp>
        <p:nvCxnSpPr>
          <p:cNvPr id="18" name="Connecteur droit avec flèche 17"/>
          <p:cNvCxnSpPr/>
          <p:nvPr/>
        </p:nvCxnSpPr>
        <p:spPr>
          <a:xfrm>
            <a:off x="5394433" y="3358276"/>
            <a:ext cx="141936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lèche : droite 1">
            <a:extLst>
              <a:ext uri="{FF2B5EF4-FFF2-40B4-BE49-F238E27FC236}">
                <a16:creationId xmlns:a16="http://schemas.microsoft.com/office/drawing/2014/main" id="{0AD8D49D-2067-412F-A842-EE0B394ACC1E}"/>
              </a:ext>
            </a:extLst>
          </p:cNvPr>
          <p:cNvSpPr/>
          <p:nvPr/>
        </p:nvSpPr>
        <p:spPr>
          <a:xfrm>
            <a:off x="180876" y="5834452"/>
            <a:ext cx="722812" cy="5569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155918" y="3002295"/>
            <a:ext cx="1609759" cy="1521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i="1" dirty="0">
                <a:solidFill>
                  <a:srgbClr val="FF0000"/>
                </a:solidFill>
                <a:latin typeface="Lato" panose="020F0502020204030203" pitchFamily="34" charset="0"/>
              </a:rPr>
              <a:t>Vaccin</a:t>
            </a:r>
          </a:p>
          <a:p>
            <a:r>
              <a:rPr lang="fr-FR" sz="1400" i="1" dirty="0">
                <a:solidFill>
                  <a:srgbClr val="FF0000"/>
                </a:solidFill>
                <a:latin typeface="Lato" panose="020F0502020204030203" pitchFamily="34" charset="0"/>
              </a:rPr>
              <a:t>Insuline</a:t>
            </a:r>
          </a:p>
          <a:p>
            <a:r>
              <a:rPr lang="fr-FR" sz="1400" i="1" dirty="0">
                <a:solidFill>
                  <a:srgbClr val="FF0000"/>
                </a:solidFill>
                <a:latin typeface="Lato" panose="020F0502020204030203" pitchFamily="34" charset="0"/>
              </a:rPr>
              <a:t>Anticoagulant</a:t>
            </a:r>
          </a:p>
          <a:p>
            <a:r>
              <a:rPr lang="fr-FR" sz="1400" i="1" dirty="0">
                <a:solidFill>
                  <a:srgbClr val="FF0000"/>
                </a:solidFill>
                <a:latin typeface="Lato" panose="020F0502020204030203" pitchFamily="34" charset="0"/>
              </a:rPr>
              <a:t>Anticancéreux…</a:t>
            </a:r>
          </a:p>
          <a:p>
            <a:endParaRPr lang="fr-FR" sz="1400" i="1" dirty="0">
              <a:solidFill>
                <a:schemeClr val="tx1"/>
              </a:solidFill>
              <a:latin typeface="Lato" panose="020F0502020204030203" pitchFamily="34" charset="0"/>
            </a:endParaRPr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D22145CF-F711-4EE8-9DFD-84E7569AE80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31" name="TextBox 8">
            <a:extLst>
              <a:ext uri="{FF2B5EF4-FFF2-40B4-BE49-F238E27FC236}">
                <a16:creationId xmlns:a16="http://schemas.microsoft.com/office/drawing/2014/main" id="{B5E80DAA-9B61-40EA-8CE4-F497C1AEFCF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ADAA0D5-A6ED-4550-9B1B-5B1F2A0AFD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15A46486-9E81-4B8C-B13E-FE142C68C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31885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24998" y="5440347"/>
            <a:ext cx="9587171" cy="844576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fr-FR" sz="2400" b="1" dirty="0">
                <a:solidFill>
                  <a:schemeClr val="bg1"/>
                </a:solidFill>
              </a:rPr>
              <a:t>Notre procédé </a:t>
            </a:r>
            <a:r>
              <a:rPr lang="fr-FR" sz="2400" b="1" dirty="0" err="1">
                <a:solidFill>
                  <a:schemeClr val="bg1"/>
                </a:solidFill>
              </a:rPr>
              <a:t>Inexiotech</a:t>
            </a:r>
            <a:r>
              <a:rPr lang="fr-FR" sz="2400" b="1" dirty="0">
                <a:solidFill>
                  <a:schemeClr val="bg1"/>
                </a:solidFill>
              </a:rPr>
              <a:t> est la seule solution technique qui répond entièrement à la problématique du client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  <a:endParaRPr lang="fr-FR" dirty="0"/>
          </a:p>
        </p:txBody>
      </p:sp>
      <p:pic>
        <p:nvPicPr>
          <p:cNvPr id="7" name="Picture 4" descr="Résultat de recherche d'images pour &quot;colonne de chromatographie industrielle&quot;">
            <a:extLst>
              <a:ext uri="{FF2B5EF4-FFF2-40B4-BE49-F238E27FC236}">
                <a16:creationId xmlns:a16="http://schemas.microsoft.com/office/drawing/2014/main" id="{B2754317-00A6-4392-815B-66CA94A27C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10" t="6775" r="30990" b="52264"/>
          <a:stretch/>
        </p:blipFill>
        <p:spPr bwMode="auto">
          <a:xfrm>
            <a:off x="10159060" y="1773808"/>
            <a:ext cx="1959081" cy="3441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482ED42-4703-4AF8-8CBA-F84B19215F5F}"/>
              </a:ext>
            </a:extLst>
          </p:cNvPr>
          <p:cNvSpPr/>
          <p:nvPr/>
        </p:nvSpPr>
        <p:spPr>
          <a:xfrm>
            <a:off x="5134868" y="2452110"/>
            <a:ext cx="4890185" cy="24996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LE CLIENT DOIT PRODUIRE PLUS QUE PREVU</a:t>
            </a:r>
          </a:p>
          <a:p>
            <a:pPr algn="ctr"/>
            <a:endParaRPr lang="fr-FR" sz="2000" b="1" dirty="0"/>
          </a:p>
          <a:p>
            <a:pPr algn="ctr"/>
            <a:r>
              <a:rPr lang="fr-FR" sz="2000" b="1" dirty="0"/>
              <a:t>Comment produire plus en gardant sa production en interne alors que son outil de production fonctionne déjà à 100% de sa capacité ?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F00D86A6-2E9A-46D4-88CD-06D626F07EB2}"/>
              </a:ext>
            </a:extLst>
          </p:cNvPr>
          <p:cNvSpPr txBox="1">
            <a:spLocks/>
          </p:cNvSpPr>
          <p:nvPr/>
        </p:nvSpPr>
        <p:spPr>
          <a:xfrm>
            <a:off x="838199" y="365125"/>
            <a:ext cx="109511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000" kern="1200" dirty="0">
                <a:solidFill>
                  <a:srgbClr val="126C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z="3200" b="1" dirty="0">
                <a:latin typeface="Lato" panose="020F0502020204030203" pitchFamily="34" charset="0"/>
              </a:rPr>
              <a:t>Cas client 1: </a:t>
            </a:r>
            <a:r>
              <a:rPr lang="fr-FR" sz="3200" dirty="0">
                <a:latin typeface="Lato" panose="020F0502020204030203" pitchFamily="34" charset="0"/>
              </a:rPr>
              <a:t>Site de production du plus grand acteur français de l’industrie pharmaceutique (1/2)</a:t>
            </a:r>
            <a:endParaRPr lang="fr-FR" sz="3200" b="1" dirty="0">
              <a:latin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B47F79-3CEE-450C-9B64-78F6D63EB19E}"/>
              </a:ext>
            </a:extLst>
          </p:cNvPr>
          <p:cNvSpPr/>
          <p:nvPr/>
        </p:nvSpPr>
        <p:spPr>
          <a:xfrm>
            <a:off x="424998" y="2452110"/>
            <a:ext cx="4485140" cy="2490887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fr-FR" sz="2000" dirty="0">
                <a:solidFill>
                  <a:srgbClr val="126C68"/>
                </a:solidFill>
                <a:latin typeface="Calibri Light" panose="020F0302020204030204"/>
                <a:ea typeface="+mj-ea"/>
                <a:cs typeface="+mj-cs"/>
              </a:rPr>
              <a:t> Le système de chromatographie utilisé est une colonne de 300mm de diamètre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fr-FR" sz="2000" dirty="0">
                <a:solidFill>
                  <a:srgbClr val="126C68"/>
                </a:solidFill>
                <a:latin typeface="Calibri Light" panose="020F0302020204030204"/>
                <a:ea typeface="+mj-ea"/>
                <a:cs typeface="+mj-cs"/>
              </a:rPr>
              <a:t>La production de sa matière première nécessite 3 étapes de chromatographie</a:t>
            </a:r>
          </a:p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fr-FR" sz="2000" dirty="0">
                <a:solidFill>
                  <a:srgbClr val="126C68"/>
                </a:solidFill>
                <a:latin typeface="Calibri Light" panose="020F0302020204030204"/>
                <a:ea typeface="+mj-ea"/>
                <a:cs typeface="+mj-cs"/>
              </a:rPr>
              <a:t>Ces 3 étapes occupent 100 % du planning de production de l’outi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1D2798-C495-47A6-835F-D4CE1717CD9E}"/>
              </a:ext>
            </a:extLst>
          </p:cNvPr>
          <p:cNvSpPr/>
          <p:nvPr/>
        </p:nvSpPr>
        <p:spPr>
          <a:xfrm>
            <a:off x="437882" y="2085972"/>
            <a:ext cx="1562637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>
                    <a:lumMod val="50000"/>
                  </a:schemeClr>
                </a:solidFill>
              </a:rPr>
              <a:t>Context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A65172-DF9B-4763-B23E-A852432FCDAA}"/>
              </a:ext>
            </a:extLst>
          </p:cNvPr>
          <p:cNvSpPr/>
          <p:nvPr/>
        </p:nvSpPr>
        <p:spPr>
          <a:xfrm>
            <a:off x="5128387" y="2085972"/>
            <a:ext cx="2320348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>
                    <a:lumMod val="50000"/>
                  </a:schemeClr>
                </a:solidFill>
              </a:rPr>
              <a:t>Problématique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48C3742E-BD65-4C43-94C1-C7C1035B01A9}"/>
              </a:ext>
            </a:extLst>
          </p:cNvPr>
          <p:cNvSpPr/>
          <p:nvPr/>
        </p:nvSpPr>
        <p:spPr>
          <a:xfrm rot="10800000">
            <a:off x="3643313" y="5121833"/>
            <a:ext cx="2762250" cy="186342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67EA6098-B168-4563-849C-E32DE6BDF36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879C3325-F480-42F1-89C1-86068FEA13D7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5EBE7FB-6EA4-4038-8801-3F906C425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3DD2A0A0-599C-479C-9D29-FFD8BAFAB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7375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B2AB790C-5261-458F-B0E5-0F76FC0B58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638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9" name="Diapositive think-cell" r:id="rId6" imgW="393" imgH="394" progId="TCLayout.ActiveDocument.1">
                  <p:embed/>
                </p:oleObj>
              </mc:Choice>
              <mc:Fallback>
                <p:oleObj name="Diapositive think-cell" r:id="rId6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">
            <a:extLst>
              <a:ext uri="{FF2B5EF4-FFF2-40B4-BE49-F238E27FC236}">
                <a16:creationId xmlns:a16="http://schemas.microsoft.com/office/drawing/2014/main" id="{EA30E4C4-3D89-4108-A967-559B35F399F1}"/>
              </a:ext>
            </a:extLst>
          </p:cNvPr>
          <p:cNvSpPr txBox="1">
            <a:spLocks/>
          </p:cNvSpPr>
          <p:nvPr/>
        </p:nvSpPr>
        <p:spPr>
          <a:xfrm>
            <a:off x="838199" y="365125"/>
            <a:ext cx="109511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000" kern="1200" dirty="0">
                <a:solidFill>
                  <a:srgbClr val="126C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z="3200" b="1" dirty="0">
                <a:latin typeface="Lato" panose="020F0502020204030203" pitchFamily="34" charset="0"/>
              </a:rPr>
              <a:t>Cas client 1: </a:t>
            </a:r>
            <a:r>
              <a:rPr lang="fr-FR" sz="3200" dirty="0">
                <a:latin typeface="Lato" panose="020F0502020204030203" pitchFamily="34" charset="0"/>
              </a:rPr>
              <a:t>Fauquet Innovation double la capacité de production de l’équipement de son client sans qu’il ne le change (2/2)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39C899-A1F4-4B72-9E12-F1D72AE46105}"/>
              </a:ext>
            </a:extLst>
          </p:cNvPr>
          <p:cNvSpPr/>
          <p:nvPr/>
        </p:nvSpPr>
        <p:spPr>
          <a:xfrm>
            <a:off x="7671029" y="1841308"/>
            <a:ext cx="40899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Principaux </a:t>
            </a:r>
            <a:r>
              <a:rPr lang="fr-FR" sz="2000" u="sng" dirty="0" err="1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milestones</a:t>
            </a:r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 et revenus associés pour Fauquet Innovation: 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561F53E6-EE1B-476F-BA24-C53478840A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1479025"/>
              </p:ext>
            </p:extLst>
          </p:nvPr>
        </p:nvGraphicFramePr>
        <p:xfrm>
          <a:off x="7432995" y="2873217"/>
          <a:ext cx="4566015" cy="24185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5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00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18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5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Dat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roduit vendu</a:t>
                      </a: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Calibri" panose="020F0502020204030204" pitchFamily="34" charset="0"/>
                          <a:cs typeface="Rubik"/>
                        </a:rPr>
                        <a:t>Revenus pour Fauquet Innovation</a:t>
                      </a: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>
                        <a:spcAft>
                          <a:spcPts val="0"/>
                        </a:spcAft>
                      </a:pPr>
                      <a:r>
                        <a:rPr lang="fr-FR" sz="1400" i="1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Q1 2018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Etude de faisabilité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35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400" b="1" i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Q2 2018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hase pilot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 – 40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400" b="1" i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18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hase industriell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0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391349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400" b="1" i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18 - 2022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hase industriell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1 m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2557850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AAD1658E-C9C3-4DC5-84DA-EC624959C88C}"/>
              </a:ext>
            </a:extLst>
          </p:cNvPr>
          <p:cNvSpPr/>
          <p:nvPr/>
        </p:nvSpPr>
        <p:spPr>
          <a:xfrm>
            <a:off x="379542" y="1841308"/>
            <a:ext cx="67788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Structure des coûts de production du client pour un lot, sans et avec </a:t>
            </a:r>
            <a:r>
              <a:rPr lang="fr-FR" sz="2000" u="sng" dirty="0" err="1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Inexiotech</a:t>
            </a:r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 : 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10D17B41-D096-4D52-9A2A-22392058669E}"/>
              </a:ext>
            </a:extLst>
          </p:cNvPr>
          <p:cNvCxnSpPr/>
          <p:nvPr/>
        </p:nvCxnSpPr>
        <p:spPr>
          <a:xfrm>
            <a:off x="7351052" y="1959414"/>
            <a:ext cx="0" cy="4320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F0C26D26-7CF1-4429-BA81-EDF3CAD96F79}"/>
              </a:ext>
            </a:extLst>
          </p:cNvPr>
          <p:cNvSpPr/>
          <p:nvPr/>
        </p:nvSpPr>
        <p:spPr>
          <a:xfrm>
            <a:off x="987960" y="3020113"/>
            <a:ext cx="2820226" cy="1646415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lvl="0">
              <a:lnSpc>
                <a:spcPct val="90000"/>
              </a:lnSpc>
              <a:spcBef>
                <a:spcPts val="600"/>
              </a:spcBef>
            </a:pPr>
            <a:endParaRPr lang="fr-FR" sz="1600" i="1" dirty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168B4E6-9DAB-4539-B1B9-F992A8F9B58E}"/>
              </a:ext>
            </a:extLst>
          </p:cNvPr>
          <p:cNvSpPr/>
          <p:nvPr/>
        </p:nvSpPr>
        <p:spPr>
          <a:xfrm>
            <a:off x="987961" y="2631912"/>
            <a:ext cx="2820224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Sans </a:t>
            </a:r>
            <a:r>
              <a:rPr lang="fr-FR" sz="2000" b="1" i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nexiotech</a:t>
            </a:r>
            <a:endParaRPr lang="fr-FR" sz="2000" b="1" i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03243F-9CB4-4E99-B0A6-C9B138E128FD}"/>
              </a:ext>
            </a:extLst>
          </p:cNvPr>
          <p:cNvSpPr/>
          <p:nvPr/>
        </p:nvSpPr>
        <p:spPr>
          <a:xfrm>
            <a:off x="3923809" y="2649672"/>
            <a:ext cx="2820222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Avec </a:t>
            </a:r>
            <a:r>
              <a:rPr lang="fr-FR" sz="2000" b="1" i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nexiotech</a:t>
            </a:r>
            <a:endParaRPr lang="fr-FR" sz="2000" b="1" i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</a:endParaRPr>
          </a:p>
        </p:txBody>
      </p:sp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id="{FCB1797B-3881-44C5-BBB0-58BA5ADE7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106918"/>
              </p:ext>
            </p:extLst>
          </p:nvPr>
        </p:nvGraphicFramePr>
        <p:xfrm>
          <a:off x="1094616" y="3151179"/>
          <a:ext cx="2606914" cy="1280160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595996">
                  <a:extLst>
                    <a:ext uri="{9D8B030D-6E8A-4147-A177-3AD203B41FA5}">
                      <a16:colId xmlns:a16="http://schemas.microsoft.com/office/drawing/2014/main" val="2941464430"/>
                    </a:ext>
                  </a:extLst>
                </a:gridCol>
                <a:gridCol w="1010918">
                  <a:extLst>
                    <a:ext uri="{9D8B030D-6E8A-4147-A177-3AD203B41FA5}">
                      <a16:colId xmlns:a16="http://schemas.microsoft.com/office/drawing/2014/main" val="4290073247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Type de coû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Montan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144141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Production mois 1</a:t>
                      </a:r>
                    </a:p>
                  </a:txBody>
                  <a:tcPr marR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160 k€</a:t>
                      </a:r>
                    </a:p>
                  </a:txBody>
                  <a:tcPr marR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104338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Production mois 2</a:t>
                      </a:r>
                    </a:p>
                  </a:txBody>
                  <a:tcPr marR="0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160 k€</a:t>
                      </a:r>
                    </a:p>
                  </a:txBody>
                  <a:tcPr marR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9026337"/>
                  </a:ext>
                </a:extLst>
              </a:tr>
              <a:tr h="120202"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320 k€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755954"/>
                  </a:ext>
                </a:extLst>
              </a:tr>
            </a:tbl>
          </a:graphicData>
        </a:graphic>
      </p:graphicFrame>
      <p:graphicFrame>
        <p:nvGraphicFramePr>
          <p:cNvPr id="24" name="Tableau 23">
            <a:extLst>
              <a:ext uri="{FF2B5EF4-FFF2-40B4-BE49-F238E27FC236}">
                <a16:creationId xmlns:a16="http://schemas.microsoft.com/office/drawing/2014/main" id="{5FABEC26-08F9-417E-A557-F4514F1EAF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8531068"/>
              </p:ext>
            </p:extLst>
          </p:nvPr>
        </p:nvGraphicFramePr>
        <p:xfrm>
          <a:off x="4038600" y="3073490"/>
          <a:ext cx="2606914" cy="1493520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595996">
                  <a:extLst>
                    <a:ext uri="{9D8B030D-6E8A-4147-A177-3AD203B41FA5}">
                      <a16:colId xmlns:a16="http://schemas.microsoft.com/office/drawing/2014/main" val="2941464430"/>
                    </a:ext>
                  </a:extLst>
                </a:gridCol>
                <a:gridCol w="1010918">
                  <a:extLst>
                    <a:ext uri="{9D8B030D-6E8A-4147-A177-3AD203B41FA5}">
                      <a16:colId xmlns:a16="http://schemas.microsoft.com/office/drawing/2014/main" val="4290073247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Type de coû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Montan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144141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Production mois 1</a:t>
                      </a:r>
                    </a:p>
                  </a:txBody>
                  <a:tcPr marR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160 k€</a:t>
                      </a:r>
                    </a:p>
                  </a:txBody>
                  <a:tcPr marR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104338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oyalties Fauquet Innovation</a:t>
                      </a:r>
                    </a:p>
                  </a:txBody>
                  <a:tcPr marR="0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80 k€</a:t>
                      </a:r>
                    </a:p>
                  </a:txBody>
                  <a:tcPr marR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9026337"/>
                  </a:ext>
                </a:extLst>
              </a:tr>
              <a:tr h="120202"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240 k€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755954"/>
                  </a:ext>
                </a:extLst>
              </a:tr>
            </a:tbl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435E583C-5F83-4A5A-A2F9-1F3BAB1C7F42}"/>
              </a:ext>
            </a:extLst>
          </p:cNvPr>
          <p:cNvSpPr/>
          <p:nvPr/>
        </p:nvSpPr>
        <p:spPr>
          <a:xfrm>
            <a:off x="3923808" y="3020113"/>
            <a:ext cx="2820226" cy="1646415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lvl="0">
              <a:lnSpc>
                <a:spcPct val="90000"/>
              </a:lnSpc>
              <a:spcBef>
                <a:spcPts val="600"/>
              </a:spcBef>
            </a:pPr>
            <a:endParaRPr lang="fr-FR" sz="1600" i="1" dirty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6" name="Triangle isocèle 25">
            <a:extLst>
              <a:ext uri="{FF2B5EF4-FFF2-40B4-BE49-F238E27FC236}">
                <a16:creationId xmlns:a16="http://schemas.microsoft.com/office/drawing/2014/main" id="{3FB039E9-C7CE-4699-8112-621A04CFC065}"/>
              </a:ext>
            </a:extLst>
          </p:cNvPr>
          <p:cNvSpPr/>
          <p:nvPr/>
        </p:nvSpPr>
        <p:spPr>
          <a:xfrm rot="10800000">
            <a:off x="2677732" y="4745395"/>
            <a:ext cx="2326086" cy="181253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EF625CA-BF7F-4999-BD41-E3066B93F59F}"/>
              </a:ext>
            </a:extLst>
          </p:cNvPr>
          <p:cNvSpPr/>
          <p:nvPr/>
        </p:nvSpPr>
        <p:spPr>
          <a:xfrm>
            <a:off x="379543" y="4990552"/>
            <a:ext cx="6778884" cy="143560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lvl="0">
              <a:lnSpc>
                <a:spcPct val="90000"/>
              </a:lnSpc>
              <a:spcBef>
                <a:spcPts val="600"/>
              </a:spcBef>
            </a:pP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Pour une production de 2 à 3 lots par an avec </a:t>
            </a:r>
            <a:r>
              <a:rPr lang="fr-FR" b="1" dirty="0" err="1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Inexiotech</a:t>
            </a: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:</a:t>
            </a:r>
          </a:p>
          <a:p>
            <a:pPr marL="374650" lvl="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Revenu Fauquet Innovation: 160 à 240 k€ par an</a:t>
            </a:r>
          </a:p>
          <a:p>
            <a:pPr marL="374650" lvl="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Réduction des coûts du client: 160 à 240k€ par an</a:t>
            </a:r>
          </a:p>
          <a:p>
            <a:pPr marL="88900" lvl="0">
              <a:lnSpc>
                <a:spcPct val="90000"/>
              </a:lnSpc>
              <a:spcBef>
                <a:spcPts val="600"/>
              </a:spcBef>
            </a:pP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  <a:sym typeface="Wingdings" panose="05000000000000000000" pitchFamily="2" charset="2"/>
              </a:rPr>
              <a:t> Partage des gains 50/50 entre Fauquet Innovation et le client</a:t>
            </a:r>
            <a:endParaRPr lang="fr-FR" b="1" dirty="0">
              <a:solidFill>
                <a:schemeClr val="bg1"/>
              </a:solidFill>
              <a:latin typeface="Lato" panose="020F0502020204030203" pitchFamily="34" charset="0"/>
              <a:ea typeface="+mj-ea"/>
              <a:cs typeface="+mj-cs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72FD07EC-55DF-4C1F-8CC1-8CD552EDB9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638" y="5604254"/>
            <a:ext cx="2775904" cy="64973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1EBE63F-8456-40C5-8089-4E56C6947C44}"/>
              </a:ext>
            </a:extLst>
          </p:cNvPr>
          <p:cNvSpPr/>
          <p:nvPr/>
        </p:nvSpPr>
        <p:spPr>
          <a:xfrm>
            <a:off x="7432995" y="4781251"/>
            <a:ext cx="4705215" cy="649731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FD669BD0-533E-465F-AC09-F0B16D567B1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31" name="TextBox 8">
            <a:extLst>
              <a:ext uri="{FF2B5EF4-FFF2-40B4-BE49-F238E27FC236}">
                <a16:creationId xmlns:a16="http://schemas.microsoft.com/office/drawing/2014/main" id="{E2017D21-1FDF-4C96-8580-B2F1A6E48C39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710668E-8C3E-4CCC-ACE2-99B06AA9F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B01A2D38-E6B0-480D-AB4F-1AFAD18E1A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167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24998" y="5440347"/>
            <a:ext cx="9587171" cy="844576"/>
          </a:xfrm>
          <a:solidFill>
            <a:schemeClr val="accent1"/>
          </a:solidFill>
          <a:ln>
            <a:noFill/>
          </a:ln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fr-FR" sz="2400" b="1" dirty="0" err="1">
                <a:solidFill>
                  <a:schemeClr val="bg1"/>
                </a:solidFill>
              </a:rPr>
              <a:t>Inexiotech</a:t>
            </a:r>
            <a:r>
              <a:rPr lang="fr-FR" sz="2400" b="1" dirty="0">
                <a:solidFill>
                  <a:schemeClr val="bg1"/>
                </a:solidFill>
              </a:rPr>
              <a:t> lui permet d’envisager sa production sur l’équipement existant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  <a:endParaRPr lang="fr-FR" dirty="0"/>
          </a:p>
        </p:txBody>
      </p:sp>
      <p:pic>
        <p:nvPicPr>
          <p:cNvPr id="7" name="Picture 4" descr="Résultat de recherche d'images pour &quot;colonne de chromatographie industrielle&quot;">
            <a:extLst>
              <a:ext uri="{FF2B5EF4-FFF2-40B4-BE49-F238E27FC236}">
                <a16:creationId xmlns:a16="http://schemas.microsoft.com/office/drawing/2014/main" id="{B2754317-00A6-4392-815B-66CA94A27C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10" t="6775" r="30990" b="52264"/>
          <a:stretch/>
        </p:blipFill>
        <p:spPr bwMode="auto">
          <a:xfrm>
            <a:off x="10159060" y="1773808"/>
            <a:ext cx="1959081" cy="3441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482ED42-4703-4AF8-8CBA-F84B19215F5F}"/>
              </a:ext>
            </a:extLst>
          </p:cNvPr>
          <p:cNvSpPr/>
          <p:nvPr/>
        </p:nvSpPr>
        <p:spPr>
          <a:xfrm>
            <a:off x="5134868" y="2452110"/>
            <a:ext cx="4890185" cy="24996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/>
              <a:t>Le client souhaite internaliser la purification de cet extrait de plante</a:t>
            </a:r>
          </a:p>
          <a:p>
            <a:pPr algn="ctr"/>
            <a:endParaRPr lang="fr-FR" sz="700" b="1" dirty="0"/>
          </a:p>
          <a:p>
            <a:pPr algn="ctr"/>
            <a:r>
              <a:rPr lang="fr-FR" sz="2000" b="1" dirty="0"/>
              <a:t>MAIS</a:t>
            </a:r>
          </a:p>
          <a:p>
            <a:pPr algn="ctr"/>
            <a:endParaRPr lang="fr-FR" sz="700" b="1" dirty="0"/>
          </a:p>
          <a:p>
            <a:pPr algn="ctr"/>
            <a:r>
              <a:rPr lang="fr-FR" sz="2000" b="1" u="sng" dirty="0"/>
              <a:t>Ses équipements sont trop petits et l’achat de nouveaux équipements </a:t>
            </a:r>
            <a:r>
              <a:rPr lang="fr-FR" sz="2000" b="1" u="sng" dirty="0" err="1"/>
              <a:t>répresente</a:t>
            </a:r>
            <a:r>
              <a:rPr lang="fr-FR" sz="2000" b="1" u="sng" dirty="0"/>
              <a:t> un investissement de 4 à 6m€</a:t>
            </a:r>
            <a:endParaRPr lang="fr-FR" sz="2000" b="1" dirty="0"/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F00D86A6-2E9A-46D4-88CD-06D626F07EB2}"/>
              </a:ext>
            </a:extLst>
          </p:cNvPr>
          <p:cNvSpPr txBox="1">
            <a:spLocks/>
          </p:cNvSpPr>
          <p:nvPr/>
        </p:nvSpPr>
        <p:spPr>
          <a:xfrm>
            <a:off x="838199" y="365125"/>
            <a:ext cx="109511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000" kern="1200" dirty="0">
                <a:solidFill>
                  <a:srgbClr val="126C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z="3200" b="1" dirty="0">
                <a:latin typeface="Lato" panose="020F0502020204030203" pitchFamily="34" charset="0"/>
              </a:rPr>
              <a:t>Cas client 2: </a:t>
            </a:r>
            <a:r>
              <a:rPr lang="fr-FR" sz="3200" dirty="0">
                <a:latin typeface="Lato" panose="020F0502020204030203" pitchFamily="34" charset="0"/>
              </a:rPr>
              <a:t>Un des principaux fournisseurs de l’industrie pharmaceutique en extraits de plantes (1/2)</a:t>
            </a:r>
            <a:endParaRPr lang="fr-FR" sz="3200" b="1" dirty="0">
              <a:latin typeface="Lato" panose="020F050202020403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B47F79-3CEE-450C-9B64-78F6D63EB19E}"/>
              </a:ext>
            </a:extLst>
          </p:cNvPr>
          <p:cNvSpPr/>
          <p:nvPr/>
        </p:nvSpPr>
        <p:spPr>
          <a:xfrm>
            <a:off x="424998" y="2452110"/>
            <a:ext cx="4485140" cy="2490887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228600" lvl="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</a:pPr>
            <a:r>
              <a:rPr lang="fr-FR" sz="2000" dirty="0">
                <a:solidFill>
                  <a:srgbClr val="126C68"/>
                </a:solidFill>
                <a:latin typeface="Calibri Light" panose="020F0302020204030204"/>
                <a:ea typeface="+mj-ea"/>
                <a:cs typeface="+mj-cs"/>
              </a:rPr>
              <a:t>Le client dépense 1 à 2 m€ par an pour sous-traiter la purification d’un extrait végéta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1D2798-C495-47A6-835F-D4CE1717CD9E}"/>
              </a:ext>
            </a:extLst>
          </p:cNvPr>
          <p:cNvSpPr/>
          <p:nvPr/>
        </p:nvSpPr>
        <p:spPr>
          <a:xfrm>
            <a:off x="437882" y="2085972"/>
            <a:ext cx="1562637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>
                    <a:lumMod val="50000"/>
                  </a:schemeClr>
                </a:solidFill>
              </a:rPr>
              <a:t>Context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7A65172-DF9B-4763-B23E-A852432FCDAA}"/>
              </a:ext>
            </a:extLst>
          </p:cNvPr>
          <p:cNvSpPr/>
          <p:nvPr/>
        </p:nvSpPr>
        <p:spPr>
          <a:xfrm>
            <a:off x="5128387" y="2085972"/>
            <a:ext cx="2320348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400" b="1" dirty="0">
                <a:solidFill>
                  <a:schemeClr val="bg1">
                    <a:lumMod val="50000"/>
                  </a:schemeClr>
                </a:solidFill>
              </a:rPr>
              <a:t>Problématique</a:t>
            </a:r>
          </a:p>
        </p:txBody>
      </p:sp>
      <p:sp>
        <p:nvSpPr>
          <p:cNvPr id="14" name="Triangle isocèle 13">
            <a:extLst>
              <a:ext uri="{FF2B5EF4-FFF2-40B4-BE49-F238E27FC236}">
                <a16:creationId xmlns:a16="http://schemas.microsoft.com/office/drawing/2014/main" id="{48C3742E-BD65-4C43-94C1-C7C1035B01A9}"/>
              </a:ext>
            </a:extLst>
          </p:cNvPr>
          <p:cNvSpPr/>
          <p:nvPr/>
        </p:nvSpPr>
        <p:spPr>
          <a:xfrm rot="10800000">
            <a:off x="3643313" y="5121833"/>
            <a:ext cx="2762250" cy="186342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TextBox 8">
            <a:extLst>
              <a:ext uri="{FF2B5EF4-FFF2-40B4-BE49-F238E27FC236}">
                <a16:creationId xmlns:a16="http://schemas.microsoft.com/office/drawing/2014/main" id="{2C8C0404-4BD9-4661-A918-441FB0DF79C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865F462B-F03A-4E2D-8FBC-A6DE58F44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6D4A2EED-DE12-4A11-BF25-6A40570E8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E0ABBA5E-0B7F-429A-9AAC-8211C483A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8827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B2AB790C-5261-458F-B0E5-0F76FC0B58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Diapositive think-cell" r:id="rId6" imgW="393" imgH="394" progId="TCLayout.ActiveDocument.1">
                  <p:embed/>
                </p:oleObj>
              </mc:Choice>
              <mc:Fallback>
                <p:oleObj name="Diapositive think-cell" r:id="rId6" imgW="393" imgH="394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B2AB790C-5261-458F-B0E5-0F76FC0B58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">
            <a:extLst>
              <a:ext uri="{FF2B5EF4-FFF2-40B4-BE49-F238E27FC236}">
                <a16:creationId xmlns:a16="http://schemas.microsoft.com/office/drawing/2014/main" id="{EA30E4C4-3D89-4108-A967-559B35F399F1}"/>
              </a:ext>
            </a:extLst>
          </p:cNvPr>
          <p:cNvSpPr txBox="1">
            <a:spLocks/>
          </p:cNvSpPr>
          <p:nvPr/>
        </p:nvSpPr>
        <p:spPr>
          <a:xfrm>
            <a:off x="838199" y="365125"/>
            <a:ext cx="1095112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4000" kern="1200" dirty="0">
                <a:solidFill>
                  <a:srgbClr val="126C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fr-FR" sz="3200" b="1" dirty="0">
                <a:latin typeface="Lato" panose="020F0502020204030203" pitchFamily="34" charset="0"/>
              </a:rPr>
              <a:t>Cas client 2: </a:t>
            </a:r>
            <a:r>
              <a:rPr lang="fr-FR" sz="3200" dirty="0">
                <a:latin typeface="Lato" panose="020F0502020204030203" pitchFamily="34" charset="0"/>
              </a:rPr>
              <a:t>Fauquet Innovation permet à son client d’internaliser la purification de son extrait de plan sans qu’il ait à investir dans de nouveaux équipements (2/2)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939C899-A1F4-4B72-9E12-F1D72AE46105}"/>
              </a:ext>
            </a:extLst>
          </p:cNvPr>
          <p:cNvSpPr/>
          <p:nvPr/>
        </p:nvSpPr>
        <p:spPr>
          <a:xfrm>
            <a:off x="7671029" y="1841308"/>
            <a:ext cx="40899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Principaux </a:t>
            </a:r>
            <a:r>
              <a:rPr lang="fr-FR" sz="2000" u="sng" dirty="0" err="1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milestones</a:t>
            </a:r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 et revenus associés pour Fauquet Innovation: 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561F53E6-EE1B-476F-BA24-C53478840A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0169991"/>
              </p:ext>
            </p:extLst>
          </p:nvPr>
        </p:nvGraphicFramePr>
        <p:xfrm>
          <a:off x="7432995" y="2873217"/>
          <a:ext cx="4566015" cy="24185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54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00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18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55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Dat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roduit vendu</a:t>
                      </a: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Calibri" panose="020F0502020204030204" pitchFamily="34" charset="0"/>
                          <a:cs typeface="Rubik"/>
                        </a:rPr>
                        <a:t>Revenus pour Fauquet Innovation</a:t>
                      </a: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>
                        <a:spcAft>
                          <a:spcPts val="0"/>
                        </a:spcAft>
                      </a:pPr>
                      <a:r>
                        <a:rPr lang="fr-FR" sz="1400" i="1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Q1 2018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Etude de faisabilité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40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400" b="1" i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Q2 2018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hase pilot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 – 40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400" b="1" i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18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hase industriell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0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391349"/>
                  </a:ext>
                </a:extLst>
              </a:tr>
              <a:tr h="482721">
                <a:tc>
                  <a:txBody>
                    <a:bodyPr/>
                    <a:lstStyle/>
                    <a:p>
                      <a:pPr marL="90488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400" b="1" i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2018 - 202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Calibri" panose="020F0502020204030204" pitchFamily="34" charset="0"/>
                        <a:buNone/>
                      </a:pPr>
                      <a:r>
                        <a:rPr lang="fr-FR" sz="1400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Phase industrielle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  <a:buClr>
                          <a:srgbClr val="1EA5A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fr-FR" sz="1400" b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  <a:ea typeface="Lato Medium" panose="020F0502020204030203" pitchFamily="34" charset="0"/>
                          <a:cs typeface="Lato Medium" panose="020F0502020204030203" pitchFamily="34" charset="0"/>
                        </a:rPr>
                        <a:t>800 k€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2557850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AAD1658E-C9C3-4DC5-84DA-EC624959C88C}"/>
              </a:ext>
            </a:extLst>
          </p:cNvPr>
          <p:cNvSpPr/>
          <p:nvPr/>
        </p:nvSpPr>
        <p:spPr>
          <a:xfrm>
            <a:off x="379542" y="1841308"/>
            <a:ext cx="677888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Structure des coûts de production du client pour un lot, sans et avec </a:t>
            </a:r>
            <a:r>
              <a:rPr lang="fr-FR" sz="2000" u="sng" dirty="0" err="1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Inexiotech</a:t>
            </a:r>
            <a:r>
              <a:rPr lang="fr-FR" sz="2000" u="sng" dirty="0">
                <a:solidFill>
                  <a:schemeClr val="accent1">
                    <a:lumMod val="75000"/>
                  </a:schemeClr>
                </a:solidFill>
                <a:latin typeface="Lato" panose="020F0502020204030203" pitchFamily="34" charset="0"/>
              </a:rPr>
              <a:t> : </a:t>
            </a: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10D17B41-D096-4D52-9A2A-22392058669E}"/>
              </a:ext>
            </a:extLst>
          </p:cNvPr>
          <p:cNvCxnSpPr/>
          <p:nvPr/>
        </p:nvCxnSpPr>
        <p:spPr>
          <a:xfrm>
            <a:off x="7351052" y="1959414"/>
            <a:ext cx="0" cy="4320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F0C26D26-7CF1-4429-BA81-EDF3CAD96F79}"/>
              </a:ext>
            </a:extLst>
          </p:cNvPr>
          <p:cNvSpPr/>
          <p:nvPr/>
        </p:nvSpPr>
        <p:spPr>
          <a:xfrm>
            <a:off x="987960" y="3020113"/>
            <a:ext cx="2820226" cy="1646415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lvl="0">
              <a:lnSpc>
                <a:spcPct val="90000"/>
              </a:lnSpc>
              <a:spcBef>
                <a:spcPts val="600"/>
              </a:spcBef>
            </a:pPr>
            <a:endParaRPr lang="fr-FR" sz="1600" i="1" dirty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168B4E6-9DAB-4539-B1B9-F992A8F9B58E}"/>
              </a:ext>
            </a:extLst>
          </p:cNvPr>
          <p:cNvSpPr/>
          <p:nvPr/>
        </p:nvSpPr>
        <p:spPr>
          <a:xfrm>
            <a:off x="987961" y="2631912"/>
            <a:ext cx="2820224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Sans </a:t>
            </a:r>
            <a:r>
              <a:rPr lang="fr-FR" sz="2000" b="1" i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nexiotech</a:t>
            </a:r>
            <a:endParaRPr lang="fr-FR" sz="2000" b="1" i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03243F-9CB4-4E99-B0A6-C9B138E128FD}"/>
              </a:ext>
            </a:extLst>
          </p:cNvPr>
          <p:cNvSpPr/>
          <p:nvPr/>
        </p:nvSpPr>
        <p:spPr>
          <a:xfrm>
            <a:off x="3923809" y="2649672"/>
            <a:ext cx="2820222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Avec </a:t>
            </a:r>
            <a:r>
              <a:rPr lang="fr-FR" sz="2000" b="1" i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nexiotech</a:t>
            </a:r>
            <a:endParaRPr lang="fr-FR" sz="2000" b="1" i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</a:endParaRPr>
          </a:p>
        </p:txBody>
      </p:sp>
      <p:graphicFrame>
        <p:nvGraphicFramePr>
          <p:cNvPr id="23" name="Tableau 22">
            <a:extLst>
              <a:ext uri="{FF2B5EF4-FFF2-40B4-BE49-F238E27FC236}">
                <a16:creationId xmlns:a16="http://schemas.microsoft.com/office/drawing/2014/main" id="{FCB1797B-3881-44C5-BBB0-58BA5ADE7E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138517"/>
              </p:ext>
            </p:extLst>
          </p:nvPr>
        </p:nvGraphicFramePr>
        <p:xfrm>
          <a:off x="1094616" y="3157155"/>
          <a:ext cx="2606914" cy="1274184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595996">
                  <a:extLst>
                    <a:ext uri="{9D8B030D-6E8A-4147-A177-3AD203B41FA5}">
                      <a16:colId xmlns:a16="http://schemas.microsoft.com/office/drawing/2014/main" val="2941464430"/>
                    </a:ext>
                  </a:extLst>
                </a:gridCol>
                <a:gridCol w="1010918">
                  <a:extLst>
                    <a:ext uri="{9D8B030D-6E8A-4147-A177-3AD203B41FA5}">
                      <a16:colId xmlns:a16="http://schemas.microsoft.com/office/drawing/2014/main" val="4290073247"/>
                    </a:ext>
                  </a:extLst>
                </a:gridCol>
              </a:tblGrid>
              <a:tr h="35938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Type de coû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Montan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1441410"/>
                  </a:ext>
                </a:extLst>
              </a:tr>
              <a:tr h="555414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Sous-traitance  année n</a:t>
                      </a:r>
                    </a:p>
                  </a:txBody>
                  <a:tcPr marR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1 m€</a:t>
                      </a:r>
                    </a:p>
                  </a:txBody>
                  <a:tcPr marR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104338"/>
                  </a:ext>
                </a:extLst>
              </a:tr>
              <a:tr h="359385"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1 m€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755954"/>
                  </a:ext>
                </a:extLst>
              </a:tr>
            </a:tbl>
          </a:graphicData>
        </a:graphic>
      </p:graphicFrame>
      <p:graphicFrame>
        <p:nvGraphicFramePr>
          <p:cNvPr id="24" name="Tableau 23">
            <a:extLst>
              <a:ext uri="{FF2B5EF4-FFF2-40B4-BE49-F238E27FC236}">
                <a16:creationId xmlns:a16="http://schemas.microsoft.com/office/drawing/2014/main" id="{5FABEC26-08F9-417E-A557-F4514F1EAF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802959"/>
              </p:ext>
            </p:extLst>
          </p:nvPr>
        </p:nvGraphicFramePr>
        <p:xfrm>
          <a:off x="4038600" y="3085443"/>
          <a:ext cx="2606914" cy="1493520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1595996">
                  <a:extLst>
                    <a:ext uri="{9D8B030D-6E8A-4147-A177-3AD203B41FA5}">
                      <a16:colId xmlns:a16="http://schemas.microsoft.com/office/drawing/2014/main" val="2941464430"/>
                    </a:ext>
                  </a:extLst>
                </a:gridCol>
                <a:gridCol w="1010918">
                  <a:extLst>
                    <a:ext uri="{9D8B030D-6E8A-4147-A177-3AD203B41FA5}">
                      <a16:colId xmlns:a16="http://schemas.microsoft.com/office/drawing/2014/main" val="4290073247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Type de coû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fr-FR" sz="1600" b="1" kern="1200" dirty="0">
                          <a:solidFill>
                            <a:srgbClr val="1EA5A0"/>
                          </a:solidFill>
                          <a:effectLst/>
                          <a:latin typeface="Lato" panose="020F0502020204030203" pitchFamily="34" charset="0"/>
                        </a:rPr>
                        <a:t>Montant</a:t>
                      </a:r>
                    </a:p>
                  </a:txBody>
                  <a:tcPr marR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144141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Production année n</a:t>
                      </a:r>
                    </a:p>
                  </a:txBody>
                  <a:tcPr marR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500 k€</a:t>
                      </a:r>
                    </a:p>
                  </a:txBody>
                  <a:tcPr marR="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3104338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Royalties Fauquet Innovation</a:t>
                      </a:r>
                    </a:p>
                  </a:txBody>
                  <a:tcPr marR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400" i="1" kern="12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Lato" panose="020F0502020204030203" pitchFamily="34" charset="0"/>
                        </a:rPr>
                        <a:t>200 k€</a:t>
                      </a:r>
                    </a:p>
                  </a:txBody>
                  <a:tcPr marR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9026337"/>
                  </a:ext>
                </a:extLst>
              </a:tr>
              <a:tr h="120202"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600" dirty="0">
                          <a:latin typeface="Lato" panose="020F0502020204030203" pitchFamily="34" charset="0"/>
                        </a:rPr>
                        <a:t>700 k€</a:t>
                      </a:r>
                    </a:p>
                  </a:txBody>
                  <a:tcPr marR="0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9755954"/>
                  </a:ext>
                </a:extLst>
              </a:tr>
            </a:tbl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435E583C-5F83-4A5A-A2F9-1F3BAB1C7F42}"/>
              </a:ext>
            </a:extLst>
          </p:cNvPr>
          <p:cNvSpPr/>
          <p:nvPr/>
        </p:nvSpPr>
        <p:spPr>
          <a:xfrm>
            <a:off x="3923808" y="3020113"/>
            <a:ext cx="2820226" cy="1646415"/>
          </a:xfrm>
          <a:prstGeom prst="rect">
            <a:avLst/>
          </a:prstGeom>
          <a:noFill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88900" lvl="0">
              <a:lnSpc>
                <a:spcPct val="90000"/>
              </a:lnSpc>
              <a:spcBef>
                <a:spcPts val="600"/>
              </a:spcBef>
            </a:pPr>
            <a:endParaRPr lang="fr-FR" sz="1600" i="1" dirty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6" name="Triangle isocèle 25">
            <a:extLst>
              <a:ext uri="{FF2B5EF4-FFF2-40B4-BE49-F238E27FC236}">
                <a16:creationId xmlns:a16="http://schemas.microsoft.com/office/drawing/2014/main" id="{3FB039E9-C7CE-4699-8112-621A04CFC065}"/>
              </a:ext>
            </a:extLst>
          </p:cNvPr>
          <p:cNvSpPr/>
          <p:nvPr/>
        </p:nvSpPr>
        <p:spPr>
          <a:xfrm rot="10800000">
            <a:off x="2677732" y="4745395"/>
            <a:ext cx="2326086" cy="181253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EF625CA-BF7F-4999-BD41-E3066B93F59F}"/>
              </a:ext>
            </a:extLst>
          </p:cNvPr>
          <p:cNvSpPr/>
          <p:nvPr/>
        </p:nvSpPr>
        <p:spPr>
          <a:xfrm>
            <a:off x="379543" y="4990552"/>
            <a:ext cx="6778884" cy="143560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374650" lvl="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Revenu Fauquet Innovation: 200k€ par an</a:t>
            </a:r>
          </a:p>
          <a:p>
            <a:pPr marL="374650" lvl="0" indent="-28575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b="1" dirty="0">
                <a:solidFill>
                  <a:schemeClr val="bg1"/>
                </a:solidFill>
                <a:latin typeface="Lato" panose="020F0502020204030203" pitchFamily="34" charset="0"/>
                <a:ea typeface="+mj-ea"/>
                <a:cs typeface="+mj-cs"/>
              </a:rPr>
              <a:t>Réduction des coûts de production du client: 300k€ par an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72FD07EC-55DF-4C1F-8CC1-8CD552EDB9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650" y="5604254"/>
            <a:ext cx="2775904" cy="649731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1EBE63F-8456-40C5-8089-4E56C6947C44}"/>
              </a:ext>
            </a:extLst>
          </p:cNvPr>
          <p:cNvSpPr/>
          <p:nvPr/>
        </p:nvSpPr>
        <p:spPr>
          <a:xfrm>
            <a:off x="7432995" y="4781251"/>
            <a:ext cx="4705215" cy="649731"/>
          </a:xfrm>
          <a:prstGeom prst="rect">
            <a:avLst/>
          </a:prstGeom>
          <a:noFill/>
          <a:ln w="285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TextBox 8">
            <a:extLst>
              <a:ext uri="{FF2B5EF4-FFF2-40B4-BE49-F238E27FC236}">
                <a16:creationId xmlns:a16="http://schemas.microsoft.com/office/drawing/2014/main" id="{6B61ECBC-0C96-4DC5-97CB-89AF04C6B41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30" name="TextBox 8">
            <a:extLst>
              <a:ext uri="{FF2B5EF4-FFF2-40B4-BE49-F238E27FC236}">
                <a16:creationId xmlns:a16="http://schemas.microsoft.com/office/drawing/2014/main" id="{F61E44A1-F53F-40E1-975D-C727392E42F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FCFA222C-F0AD-4560-B14B-E9DF1EDE0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80AD16C2-471C-4C44-9CD9-69A895D65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74825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377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" name="Diapositive think-cell" r:id="rId19" imgW="420" imgH="403" progId="TCLayout.ActiveDocument.1">
                  <p:embed/>
                </p:oleObj>
              </mc:Choice>
              <mc:Fallback>
                <p:oleObj name="Diapositive think-cell" r:id="rId19" imgW="420" imgH="40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603B43D-7E57-43EF-9830-756CB77EA7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pic>
        <p:nvPicPr>
          <p:cNvPr id="33" name="Image 32"/>
          <p:cNvPicPr>
            <a:picLocks noChangeAspect="1"/>
          </p:cNvPicPr>
          <p:nvPr/>
        </p:nvPicPr>
        <p:blipFill rotWithShape="1">
          <a:blip r:embed="rId21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7" r="52131"/>
          <a:stretch/>
        </p:blipFill>
        <p:spPr>
          <a:xfrm>
            <a:off x="6116185" y="140677"/>
            <a:ext cx="6069760" cy="655710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37587" y="152590"/>
            <a:ext cx="11102164" cy="1325563"/>
          </a:xfrm>
        </p:spPr>
        <p:txBody>
          <a:bodyPr>
            <a:no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                            est une brique technologique et industrielle brevetée qui simplifie la purification</a:t>
            </a:r>
          </a:p>
        </p:txBody>
      </p:sp>
      <p:pic>
        <p:nvPicPr>
          <p:cNvPr id="13" name="Espace réservé du contenu 12"/>
          <p:cNvPicPr>
            <a:picLocks noGrp="1" noChangeAspect="1"/>
          </p:cNvPicPr>
          <p:nvPr>
            <p:ph idx="1"/>
          </p:nvPr>
        </p:nvPicPr>
        <p:blipFill rotWithShape="1">
          <a:blip r:embed="rId2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209"/>
          <a:stretch/>
        </p:blipFill>
        <p:spPr>
          <a:xfrm>
            <a:off x="9293136" y="2121741"/>
            <a:ext cx="2459376" cy="1962364"/>
          </a:xfr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 Medium" panose="020F0502020204030203"/>
              </a:rPr>
              <a:t>Juin 2018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587" y="349718"/>
            <a:ext cx="2187825" cy="465653"/>
          </a:xfrm>
          <a:prstGeom prst="rect">
            <a:avLst/>
          </a:prstGeom>
        </p:spPr>
      </p:pic>
      <p:pic>
        <p:nvPicPr>
          <p:cNvPr id="9" name="Picture 4" descr="Résultat de recherche d'images pour &quot;colonne de chromatographie industrielle&quot;"/>
          <p:cNvPicPr>
            <a:picLocks noChangeAspect="1" noChangeArrowheads="1"/>
          </p:cNvPicPr>
          <p:nvPr/>
        </p:nvPicPr>
        <p:blipFill rotWithShape="1">
          <a:blip r:embed="rId2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10" t="6775" r="30990" b="52264"/>
          <a:stretch/>
        </p:blipFill>
        <p:spPr bwMode="auto">
          <a:xfrm>
            <a:off x="6308315" y="1854730"/>
            <a:ext cx="2428875" cy="4266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9473" y="1906061"/>
            <a:ext cx="2026702" cy="431360"/>
          </a:xfrm>
          <a:prstGeom prst="rect">
            <a:avLst/>
          </a:prstGeom>
        </p:spPr>
      </p:pic>
      <p:cxnSp>
        <p:nvCxnSpPr>
          <p:cNvPr id="18" name="Connecteur droit avec flèche 17"/>
          <p:cNvCxnSpPr/>
          <p:nvPr/>
        </p:nvCxnSpPr>
        <p:spPr>
          <a:xfrm>
            <a:off x="8001482" y="4006435"/>
            <a:ext cx="1291654" cy="0"/>
          </a:xfrm>
          <a:prstGeom prst="straightConnector1">
            <a:avLst/>
          </a:prstGeom>
          <a:ln w="28575"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9579421" y="4490469"/>
            <a:ext cx="365522" cy="1410132"/>
          </a:xfrm>
          <a:prstGeom prst="rect">
            <a:avLst/>
          </a:prstGeom>
          <a:gradFill flip="none" rotWithShape="1">
            <a:gsLst>
              <a:gs pos="10000">
                <a:schemeClr val="bg1"/>
              </a:gs>
              <a:gs pos="6000">
                <a:schemeClr val="accent2">
                  <a:lumMod val="75000"/>
                  <a:tint val="66000"/>
                  <a:satMod val="160000"/>
                </a:schemeClr>
              </a:gs>
              <a:gs pos="1000">
                <a:schemeClr val="accent2">
                  <a:lumMod val="50000"/>
                </a:schemeClr>
              </a:gs>
              <a:gs pos="9000">
                <a:schemeClr val="accent2">
                  <a:lumMod val="75000"/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0112970" y="4490469"/>
            <a:ext cx="365522" cy="141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0112970" y="5002602"/>
            <a:ext cx="365522" cy="47223"/>
          </a:xfrm>
          <a:prstGeom prst="rect">
            <a:avLst/>
          </a:prstGeom>
          <a:solidFill>
            <a:srgbClr val="0D9E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113142" y="5241257"/>
            <a:ext cx="362424" cy="4722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113142" y="5351637"/>
            <a:ext cx="362424" cy="84384"/>
          </a:xfrm>
          <a:prstGeom prst="rect">
            <a:avLst/>
          </a:prstGeom>
          <a:solidFill>
            <a:srgbClr val="07FA0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116068" y="5507671"/>
            <a:ext cx="362424" cy="6257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170653" y="4490469"/>
            <a:ext cx="365522" cy="14101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170653" y="4910721"/>
            <a:ext cx="365522" cy="47223"/>
          </a:xfrm>
          <a:prstGeom prst="rect">
            <a:avLst/>
          </a:prstGeom>
          <a:solidFill>
            <a:srgbClr val="0D9E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170653" y="5467375"/>
            <a:ext cx="365522" cy="47223"/>
          </a:xfrm>
          <a:prstGeom prst="rect">
            <a:avLst/>
          </a:prstGeom>
          <a:solidFill>
            <a:srgbClr val="0D9E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170653" y="4632394"/>
            <a:ext cx="365522" cy="47223"/>
          </a:xfrm>
          <a:prstGeom prst="rect">
            <a:avLst/>
          </a:prstGeom>
          <a:solidFill>
            <a:srgbClr val="0D9E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170653" y="5189048"/>
            <a:ext cx="365522" cy="47223"/>
          </a:xfrm>
          <a:prstGeom prst="rect">
            <a:avLst/>
          </a:prstGeom>
          <a:solidFill>
            <a:srgbClr val="0D9E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170653" y="5745701"/>
            <a:ext cx="365522" cy="47223"/>
          </a:xfrm>
          <a:prstGeom prst="rect">
            <a:avLst/>
          </a:prstGeom>
          <a:solidFill>
            <a:srgbClr val="0D9E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31" name="Espace réservé du contenu 2"/>
          <p:cNvSpPr txBox="1">
            <a:spLocks/>
          </p:cNvSpPr>
          <p:nvPr/>
        </p:nvSpPr>
        <p:spPr>
          <a:xfrm>
            <a:off x="251637" y="1154940"/>
            <a:ext cx="5435089" cy="270269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lang="fr-FR" b="0" dirty="0">
                <a:solidFill>
                  <a:srgbClr val="126C68"/>
                </a:solidFill>
                <a:latin typeface="+mj-lt"/>
                <a:ea typeface="+mj-ea"/>
                <a:cs typeface="+mj-cs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lang="fr-FR" sz="2400" dirty="0">
                <a:solidFill>
                  <a:srgbClr val="0D9E9B"/>
                </a:solidFill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lang="fr-FR" sz="2000">
                <a:solidFill>
                  <a:schemeClr val="bg2">
                    <a:lumMod val="50000"/>
                  </a:schemeClr>
                </a:solidFill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lang="fr-FR">
                <a:solidFill>
                  <a:schemeClr val="bg2">
                    <a:lumMod val="50000"/>
                  </a:schemeClr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lang="fr-FR">
                <a:solidFill>
                  <a:schemeClr val="bg2">
                    <a:lumMod val="50000"/>
                  </a:schemeClr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r>
              <a:rPr lang="fr-FR" sz="2000" dirty="0">
                <a:latin typeface="Lato" panose="020F0502020204030203" pitchFamily="34" charset="0"/>
              </a:rPr>
              <a:t>                           est un procédé </a:t>
            </a:r>
            <a:r>
              <a:rPr lang="fr-FR" sz="2000" b="1" dirty="0">
                <a:latin typeface="Lato" panose="020F0502020204030203" pitchFamily="34" charset="0"/>
              </a:rPr>
              <a:t>"plug &amp; </a:t>
            </a:r>
            <a:r>
              <a:rPr lang="fr-FR" sz="2000" b="1" dirty="0" err="1">
                <a:latin typeface="Lato" panose="020F0502020204030203" pitchFamily="34" charset="0"/>
              </a:rPr>
              <a:t>play</a:t>
            </a:r>
            <a:r>
              <a:rPr lang="fr-FR" sz="2000" b="1" dirty="0">
                <a:latin typeface="Lato" panose="020F0502020204030203" pitchFamily="34" charset="0"/>
              </a:rPr>
              <a:t> "</a:t>
            </a:r>
            <a:r>
              <a:rPr lang="fr-FR" sz="2000" dirty="0">
                <a:latin typeface="Lato" panose="020F0502020204030203" pitchFamily="34" charset="0"/>
              </a:rPr>
              <a:t> de pilotage d’équipement qui complète du matériel existant</a:t>
            </a:r>
          </a:p>
          <a:p>
            <a:pPr marL="0" indent="0" algn="just">
              <a:buNone/>
            </a:pPr>
            <a:endParaRPr lang="fr-FR" dirty="0">
              <a:latin typeface="Lato" panose="020F0502020204030203" pitchFamily="34" charset="0"/>
            </a:endParaRPr>
          </a:p>
          <a:p>
            <a:r>
              <a:rPr lang="fr-FR" sz="2000" dirty="0">
                <a:latin typeface="Lato" panose="020F0502020204030203" pitchFamily="34" charset="0"/>
              </a:rPr>
              <a:t>                           s’appuie sur un </a:t>
            </a:r>
            <a:r>
              <a:rPr lang="fr-FR" sz="2000" b="1" dirty="0">
                <a:latin typeface="Lato" panose="020F0502020204030203" pitchFamily="34" charset="0"/>
              </a:rPr>
              <a:t>brevet publié</a:t>
            </a:r>
            <a:endParaRPr lang="fr-FR" dirty="0">
              <a:latin typeface="Lato" panose="020F0502020204030203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393036" y="6176963"/>
            <a:ext cx="1933353" cy="266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Lato Medium" panose="020F0502020204030203"/>
              </a:rPr>
              <a:t>Matériel Universel</a:t>
            </a:r>
          </a:p>
        </p:txBody>
      </p:sp>
      <p:pic>
        <p:nvPicPr>
          <p:cNvPr id="34" name="Image 33"/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191" y="1672386"/>
            <a:ext cx="1365680" cy="290669"/>
          </a:xfrm>
          <a:prstGeom prst="rect">
            <a:avLst/>
          </a:prstGeom>
        </p:spPr>
      </p:pic>
      <p:graphicFrame>
        <p:nvGraphicFramePr>
          <p:cNvPr id="37" name="Espace réservé du contenu 8">
            <a:extLst>
              <a:ext uri="{FF2B5EF4-FFF2-40B4-BE49-F238E27FC236}">
                <a16:creationId xmlns:a16="http://schemas.microsoft.com/office/drawing/2014/main" id="{B356673E-13E9-4CB4-AD18-82A0E46D46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606998"/>
              </p:ext>
            </p:extLst>
          </p:nvPr>
        </p:nvGraphicFramePr>
        <p:xfrm>
          <a:off x="50676" y="3652555"/>
          <a:ext cx="6248156" cy="2712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3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14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14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14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3050"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Lato Medium" panose="020F0502020204030203"/>
                          <a:ea typeface="+mn-ea"/>
                          <a:cs typeface="+mn-cs"/>
                        </a:rPr>
                        <a:t>SMB</a:t>
                      </a:r>
                      <a:r>
                        <a:rPr kumimoji="0" lang="fr-FR" sz="1200" b="1" i="0" u="none" strike="noStrike" kern="1200" cap="none" spc="0" normalizeH="0" baseline="3000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Lato Medium" panose="020F0502020204030203"/>
                          <a:ea typeface="+mn-ea"/>
                          <a:cs typeface="+mn-cs"/>
                        </a:rPr>
                        <a:t>1</a:t>
                      </a:r>
                    </a:p>
                    <a:p>
                      <a:pPr algn="ctr"/>
                      <a:endParaRPr kumimoji="0" lang="fr-FR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Lato Medium" panose="020F0502020204030203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Lato Medium" panose="020F0502020204030203"/>
                          <a:ea typeface="+mn-ea"/>
                          <a:cs typeface="+mn-cs"/>
                        </a:rPr>
                        <a:t>Chromatographie discontinue</a:t>
                      </a:r>
                    </a:p>
                  </a:txBody>
                  <a:tcPr marL="36000" marR="36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81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Taille de production</a:t>
                      </a:r>
                    </a:p>
                    <a:p>
                      <a:pPr marL="0" algn="l" defTabSz="914400" rtl="0" eaLnBrk="1" latinLnBrk="0" hangingPunct="1"/>
                      <a:r>
                        <a:rPr lang="fr-FR" sz="1200" b="0" i="1" kern="120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Part</a:t>
                      </a:r>
                      <a:r>
                        <a:rPr lang="fr-FR" sz="1200" b="0" i="1" kern="1200" baseline="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 de marché actuelle</a:t>
                      </a:r>
                      <a:endParaRPr lang="fr-FR" sz="1200" b="0" i="1" kern="1200" dirty="0">
                        <a:solidFill>
                          <a:schemeClr val="bg1"/>
                        </a:solidFill>
                        <a:latin typeface="Lato Medium" panose="020F0502020204030203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6C68"/>
                          </a:solidFill>
                          <a:effectLst/>
                          <a:uLnTx/>
                          <a:uFillTx/>
                          <a:latin typeface="Lato Medium" panose="020F0502020204030203"/>
                          <a:ea typeface="+mn-ea"/>
                          <a:cs typeface="+mn-cs"/>
                        </a:rPr>
                        <a:t>-15 tonnes/an</a:t>
                      </a:r>
                      <a:endParaRPr lang="fr-FR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>
                          <a:solidFill>
                            <a:srgbClr val="126C68"/>
                          </a:solidFill>
                          <a:latin typeface="Lato Medium" panose="020F0502020204030203"/>
                          <a:ea typeface="+mj-ea"/>
                          <a:cs typeface="+mj-cs"/>
                        </a:rPr>
                        <a:t> +10 tonnes/a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1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20%</a:t>
                      </a:r>
                      <a:endParaRPr lang="fr-FR" sz="1200" b="0" i="1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Lato Medium" panose="020F0502020204030203"/>
                        <a:ea typeface="+mj-ea"/>
                        <a:cs typeface="+mj-cs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noProof="0" dirty="0">
                          <a:solidFill>
                            <a:srgbClr val="126C68"/>
                          </a:solidFill>
                          <a:latin typeface="Lato Medium" panose="020F0502020204030203"/>
                          <a:ea typeface="+mj-ea"/>
                          <a:cs typeface="+mj-cs"/>
                        </a:rPr>
                        <a:t>-</a:t>
                      </a:r>
                      <a:r>
                        <a:rPr lang="fr-FR" sz="1200" b="1" kern="1200" baseline="0" noProof="0" dirty="0">
                          <a:solidFill>
                            <a:srgbClr val="126C68"/>
                          </a:solidFill>
                          <a:latin typeface="Lato Medium" panose="020F0502020204030203"/>
                          <a:ea typeface="+mj-ea"/>
                          <a:cs typeface="+mj-cs"/>
                        </a:rPr>
                        <a:t> </a:t>
                      </a:r>
                      <a:r>
                        <a:rPr lang="fr-FR" sz="1200" b="1" kern="1200" noProof="0" dirty="0">
                          <a:solidFill>
                            <a:srgbClr val="126C68"/>
                          </a:solidFill>
                          <a:latin typeface="Lato Medium" panose="020F0502020204030203"/>
                          <a:ea typeface="+mj-ea"/>
                          <a:cs typeface="+mj-cs"/>
                        </a:rPr>
                        <a:t>1 tonne/a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1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8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81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Coût / investissement matériel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Productivité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Production en continu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>
                          <a:solidFill>
                            <a:schemeClr val="bg1"/>
                          </a:solidFill>
                          <a:latin typeface="Lato Medium" panose="020F0502020204030203"/>
                          <a:ea typeface="+mn-ea"/>
                          <a:cs typeface="+mn-cs"/>
                        </a:rPr>
                        <a:t>Flexibilité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38" name="Image 37">
            <a:extLst>
              <a:ext uri="{FF2B5EF4-FFF2-40B4-BE49-F238E27FC236}">
                <a16:creationId xmlns:a16="http://schemas.microsoft.com/office/drawing/2014/main" id="{449A160C-67C9-42D2-A4BA-1D6B847C6932}"/>
              </a:ext>
            </a:extLst>
          </p:cNvPr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63" y="3753899"/>
            <a:ext cx="1029301" cy="219075"/>
          </a:xfrm>
          <a:prstGeom prst="rect">
            <a:avLst/>
          </a:prstGeom>
        </p:spPr>
      </p:pic>
      <p:sp>
        <p:nvSpPr>
          <p:cNvPr id="39" name="Ellipse 38">
            <a:extLst>
              <a:ext uri="{FF2B5EF4-FFF2-40B4-BE49-F238E27FC236}">
                <a16:creationId xmlns:a16="http://schemas.microsoft.com/office/drawing/2014/main" id="{2C6E7F7A-B50D-4120-8B8E-6EBF85F69F8A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576738" y="4746086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7651F9D1-B024-4E7F-884F-942AE4FA7E0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576738" y="5181061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0FEAB8D0-DA9E-48F5-9AFA-B364509DCDC5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576738" y="5614449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229890BA-39DF-49C1-83AE-6EB294813E8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576738" y="6047836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87E3B10F-1552-4ABF-9D81-4F3ACCF5478B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110263" y="4746086"/>
            <a:ext cx="187325" cy="187325"/>
          </a:xfrm>
          <a:prstGeom prst="ellipse">
            <a:avLst/>
          </a:prstGeom>
          <a:solidFill>
            <a:srgbClr val="EEA632"/>
          </a:solidFill>
          <a:ln w="9525">
            <a:solidFill>
              <a:srgbClr val="EEA63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C02E486D-DDF0-48CB-A4BA-6E58FA9D684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4110263" y="5173124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E88B06FE-284E-4673-8769-E259670E89B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110263" y="5620799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74B4D2F2-EE8F-4073-8DB3-8F1FA19D88A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110263" y="6047836"/>
            <a:ext cx="187325" cy="187325"/>
          </a:xfrm>
          <a:prstGeom prst="ellipse">
            <a:avLst/>
          </a:prstGeom>
          <a:solidFill>
            <a:srgbClr val="EEA632"/>
          </a:solidFill>
          <a:ln w="9525">
            <a:solidFill>
              <a:srgbClr val="EEA63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2576E081-2A0D-4D17-A38F-C55A68914BE7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497738" y="4746086"/>
            <a:ext cx="187325" cy="187325"/>
          </a:xfrm>
          <a:prstGeom prst="ellipse">
            <a:avLst/>
          </a:prstGeom>
          <a:solidFill>
            <a:srgbClr val="EEA632"/>
          </a:solidFill>
          <a:ln w="9525">
            <a:solidFill>
              <a:srgbClr val="EEA63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7DB2DEE9-0E42-44A9-9B7A-A5B6C90959A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497738" y="5173124"/>
            <a:ext cx="187325" cy="187325"/>
          </a:xfrm>
          <a:prstGeom prst="ellipse">
            <a:avLst/>
          </a:prstGeom>
          <a:solidFill>
            <a:srgbClr val="EEA632"/>
          </a:solidFill>
          <a:ln w="9525">
            <a:solidFill>
              <a:srgbClr val="EEA63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C1FEF937-8BDD-46C8-8F27-18305C510A6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497738" y="5620799"/>
            <a:ext cx="187325" cy="187325"/>
          </a:xfrm>
          <a:prstGeom prst="ellipse">
            <a:avLst/>
          </a:prstGeom>
          <a:solidFill>
            <a:srgbClr val="EEA632"/>
          </a:solidFill>
          <a:ln w="9525">
            <a:solidFill>
              <a:srgbClr val="EEA63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8ECDC399-89A4-401C-864B-0D5FED0AA73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497738" y="6047836"/>
            <a:ext cx="187325" cy="187325"/>
          </a:xfrm>
          <a:prstGeom prst="ellipse">
            <a:avLst/>
          </a:prstGeom>
          <a:solidFill>
            <a:srgbClr val="5BAD82"/>
          </a:solidFill>
          <a:ln w="9525">
            <a:solidFill>
              <a:srgbClr val="5BAD82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MS PGothic" charset="0"/>
              <a:cs typeface="MS PGothic" charset="0"/>
            </a:endParaRPr>
          </a:p>
        </p:txBody>
      </p:sp>
      <p:pic>
        <p:nvPicPr>
          <p:cNvPr id="51" name="Picture 30" descr="Datei:Novasep logo.svg – Wikipedia">
            <a:extLst>
              <a:ext uri="{FF2B5EF4-FFF2-40B4-BE49-F238E27FC236}">
                <a16:creationId xmlns:a16="http://schemas.microsoft.com/office/drawing/2014/main" id="{CE82E891-4EDF-42BF-AB54-8F9C600472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1054" y="3863436"/>
            <a:ext cx="738415" cy="23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Image 51">
            <a:extLst>
              <a:ext uri="{FF2B5EF4-FFF2-40B4-BE49-F238E27FC236}">
                <a16:creationId xmlns:a16="http://schemas.microsoft.com/office/drawing/2014/main" id="{116020EC-7681-429E-8E97-C7F02654B82B}"/>
              </a:ext>
            </a:extLst>
          </p:cNvPr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191" y="3001481"/>
            <a:ext cx="1365680" cy="290669"/>
          </a:xfrm>
          <a:prstGeom prst="rect">
            <a:avLst/>
          </a:prstGeom>
        </p:spPr>
      </p:pic>
      <p:sp>
        <p:nvSpPr>
          <p:cNvPr id="53" name="TextBox 8">
            <a:extLst>
              <a:ext uri="{FF2B5EF4-FFF2-40B4-BE49-F238E27FC236}">
                <a16:creationId xmlns:a16="http://schemas.microsoft.com/office/drawing/2014/main" id="{D52E396E-D7AE-4617-9FCF-481082BAB864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54" name="TextBox 8">
            <a:extLst>
              <a:ext uri="{FF2B5EF4-FFF2-40B4-BE49-F238E27FC236}">
                <a16:creationId xmlns:a16="http://schemas.microsoft.com/office/drawing/2014/main" id="{BF2550A9-4DFE-492A-B202-83716C1843CC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8B334972-81CB-40BE-AB42-040D9B969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FE74287C-2A18-4BC1-81FA-1D7828BFB0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897228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Juin 2018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2649542" y="1960522"/>
            <a:ext cx="756000" cy="756000"/>
            <a:chOff x="2651720" y="4868913"/>
            <a:chExt cx="422602" cy="421200"/>
          </a:xfrm>
        </p:grpSpPr>
        <p:sp>
          <p:nvSpPr>
            <p:cNvPr id="7" name="Ellipse 6"/>
            <p:cNvSpPr/>
            <p:nvPr/>
          </p:nvSpPr>
          <p:spPr>
            <a:xfrm>
              <a:off x="2651720" y="4868913"/>
              <a:ext cx="422602" cy="4212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3987" y="4980516"/>
              <a:ext cx="258067" cy="197993"/>
            </a:xfrm>
            <a:prstGeom prst="rect">
              <a:avLst/>
            </a:prstGeom>
          </p:spPr>
        </p:pic>
      </p:grpSp>
      <p:sp>
        <p:nvSpPr>
          <p:cNvPr id="9" name="Rectangle 8"/>
          <p:cNvSpPr/>
          <p:nvPr/>
        </p:nvSpPr>
        <p:spPr>
          <a:xfrm>
            <a:off x="226604" y="2723150"/>
            <a:ext cx="5597241" cy="715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70% du coût de production</a:t>
            </a:r>
          </a:p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sym typeface="Wingdings" panose="05000000000000000000" pitchFamily="2" charset="2"/>
              </a:rPr>
              <a:t> </a:t>
            </a:r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Coûts de production ÷ 2</a:t>
            </a:r>
          </a:p>
        </p:txBody>
      </p:sp>
      <p:sp>
        <p:nvSpPr>
          <p:cNvPr id="10" name="Rectangle 9"/>
          <p:cNvSpPr/>
          <p:nvPr/>
        </p:nvSpPr>
        <p:spPr>
          <a:xfrm>
            <a:off x="-21617" y="4673464"/>
            <a:ext cx="6096000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Volumes de solvant limitants </a:t>
            </a:r>
          </a:p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sym typeface="Wingdings" panose="05000000000000000000" pitchFamily="2" charset="2"/>
              </a:rPr>
              <a:t> Volumes</a:t>
            </a:r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 ÷ 2</a:t>
            </a:r>
          </a:p>
        </p:txBody>
      </p:sp>
      <p:grpSp>
        <p:nvGrpSpPr>
          <p:cNvPr id="11" name="Groupe 10"/>
          <p:cNvGrpSpPr/>
          <p:nvPr/>
        </p:nvGrpSpPr>
        <p:grpSpPr>
          <a:xfrm>
            <a:off x="8781760" y="1960037"/>
            <a:ext cx="756000" cy="756000"/>
            <a:chOff x="2652366" y="4231144"/>
            <a:chExt cx="422602" cy="421200"/>
          </a:xfrm>
        </p:grpSpPr>
        <p:sp>
          <p:nvSpPr>
            <p:cNvPr id="12" name="Ellipse 11"/>
            <p:cNvSpPr/>
            <p:nvPr/>
          </p:nvSpPr>
          <p:spPr>
            <a:xfrm>
              <a:off x="2652366" y="4231144"/>
              <a:ext cx="422602" cy="4212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3987" y="4307843"/>
              <a:ext cx="258067" cy="2580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4" name="Groupe 13"/>
          <p:cNvGrpSpPr/>
          <p:nvPr/>
        </p:nvGrpSpPr>
        <p:grpSpPr>
          <a:xfrm>
            <a:off x="2648383" y="3875601"/>
            <a:ext cx="756000" cy="756000"/>
            <a:chOff x="2652366" y="5611022"/>
            <a:chExt cx="422602" cy="421200"/>
          </a:xfrm>
        </p:grpSpPr>
        <p:sp>
          <p:nvSpPr>
            <p:cNvPr id="15" name="Ellipse 14"/>
            <p:cNvSpPr/>
            <p:nvPr/>
          </p:nvSpPr>
          <p:spPr>
            <a:xfrm>
              <a:off x="2652366" y="5611022"/>
              <a:ext cx="422602" cy="4212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16" name="Image 15"/>
            <p:cNvPicPr>
              <a:picLocks noChangeAspect="1"/>
            </p:cNvPicPr>
            <p:nvPr/>
          </p:nvPicPr>
          <p:blipFill rotWithShape="1"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084"/>
            <a:stretch/>
          </p:blipFill>
          <p:spPr>
            <a:xfrm>
              <a:off x="2700493" y="5655367"/>
              <a:ext cx="325054" cy="279274"/>
            </a:xfrm>
            <a:prstGeom prst="rect">
              <a:avLst/>
            </a:prstGeom>
          </p:spPr>
        </p:pic>
      </p:grpSp>
      <p:grpSp>
        <p:nvGrpSpPr>
          <p:cNvPr id="17" name="Groupe 16"/>
          <p:cNvGrpSpPr/>
          <p:nvPr/>
        </p:nvGrpSpPr>
        <p:grpSpPr>
          <a:xfrm>
            <a:off x="8781760" y="3916979"/>
            <a:ext cx="756000" cy="756000"/>
            <a:chOff x="668892" y="5193061"/>
            <a:chExt cx="756000" cy="756000"/>
          </a:xfrm>
        </p:grpSpPr>
        <p:sp>
          <p:nvSpPr>
            <p:cNvPr id="18" name="Ellipse 17"/>
            <p:cNvSpPr/>
            <p:nvPr/>
          </p:nvSpPr>
          <p:spPr>
            <a:xfrm>
              <a:off x="668892" y="5193061"/>
              <a:ext cx="756000" cy="7560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19" name="Image 18"/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819" t="11250" r="23680" b="26528"/>
            <a:stretch/>
          </p:blipFill>
          <p:spPr>
            <a:xfrm>
              <a:off x="793215" y="5267248"/>
              <a:ext cx="512683" cy="607625"/>
            </a:xfrm>
            <a:prstGeom prst="rect">
              <a:avLst/>
            </a:prstGeom>
          </p:spPr>
        </p:pic>
      </p:grpSp>
      <p:sp>
        <p:nvSpPr>
          <p:cNvPr id="20" name="Rectangle 19"/>
          <p:cNvSpPr/>
          <p:nvPr/>
        </p:nvSpPr>
        <p:spPr>
          <a:xfrm>
            <a:off x="6264787" y="4747166"/>
            <a:ext cx="5787625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Time-to-</a:t>
            </a:r>
            <a:r>
              <a:rPr lang="fr-FR" sz="2400" b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market</a:t>
            </a:r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 limitant</a:t>
            </a:r>
          </a:p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sym typeface="Wingdings" panose="05000000000000000000" pitchFamily="2" charset="2"/>
              </a:rPr>
              <a:t></a:t>
            </a:r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Temps de </a:t>
            </a:r>
            <a:r>
              <a:rPr lang="fr-FR" sz="2400" b="1" dirty="0" err="1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scale</a:t>
            </a:r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-up et production ÷ 3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384691" y="2753609"/>
            <a:ext cx="3595535" cy="7152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ncapacité à purifier</a:t>
            </a:r>
          </a:p>
          <a:p>
            <a:pPr algn="ctr"/>
            <a:r>
              <a:rPr lang="fr-FR" sz="2400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  <a:sym typeface="Wingdings" panose="05000000000000000000" pitchFamily="2" charset="2"/>
              </a:rPr>
              <a:t> Efficacité x2</a:t>
            </a:r>
            <a:endParaRPr lang="fr-FR" sz="2400" b="1" dirty="0">
              <a:solidFill>
                <a:schemeClr val="bg1">
                  <a:lumMod val="50000"/>
                </a:schemeClr>
              </a:solidFill>
              <a:latin typeface="Lato" panose="020F0502020204030203" pitchFamily="34" charset="0"/>
            </a:endParaRP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489" y="904111"/>
            <a:ext cx="3365030" cy="787623"/>
          </a:xfrm>
          <a:prstGeom prst="rect">
            <a:avLst/>
          </a:prstGeom>
        </p:spPr>
      </p:pic>
      <p:sp>
        <p:nvSpPr>
          <p:cNvPr id="22" name="TextBox 8">
            <a:extLst>
              <a:ext uri="{FF2B5EF4-FFF2-40B4-BE49-F238E27FC236}">
                <a16:creationId xmlns:a16="http://schemas.microsoft.com/office/drawing/2014/main" id="{D5451CF1-3DED-4C13-84C9-BD26562A27A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4" name="TextBox 8">
            <a:extLst>
              <a:ext uri="{FF2B5EF4-FFF2-40B4-BE49-F238E27FC236}">
                <a16:creationId xmlns:a16="http://schemas.microsoft.com/office/drawing/2014/main" id="{DD9A1850-A8E7-4A32-8FB3-5925E921860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BE7A3E8-A5BE-48FB-BFA3-3B7B731E4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</a:p>
        </p:txBody>
      </p:sp>
      <p:sp>
        <p:nvSpPr>
          <p:cNvPr id="25" name="Espace réservé du numéro de diapositive 24">
            <a:extLst>
              <a:ext uri="{FF2B5EF4-FFF2-40B4-BE49-F238E27FC236}">
                <a16:creationId xmlns:a16="http://schemas.microsoft.com/office/drawing/2014/main" id="{BCB66556-4262-42BB-A189-D3FF3F4AF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87126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t 4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964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9" name="Diapositive think-cell" r:id="rId7" imgW="393" imgH="394" progId="TCLayout.ActiveDocument.1">
                  <p:embed/>
                </p:oleObj>
              </mc:Choice>
              <mc:Fallback>
                <p:oleObj name="Diapositive think-cell" r:id="rId7" imgW="393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A27FF10-DFD2-4E53-8A15-5A4955F29E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latin typeface="Lato" panose="020F0502020204030203" pitchFamily="34" charset="0"/>
              <a:sym typeface="Lato" panose="020F0502020204030203" pitchFamily="34" charset="0"/>
            </a:endParaRPr>
          </a:p>
        </p:txBody>
      </p:sp>
      <p:pic>
        <p:nvPicPr>
          <p:cNvPr id="57" name="Image 56"/>
          <p:cNvPicPr>
            <a:picLocks noChangeAspect="1"/>
          </p:cNvPicPr>
          <p:nvPr/>
        </p:nvPicPr>
        <p:blipFill rotWithShape="1"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3" b="14438"/>
          <a:stretch/>
        </p:blipFill>
        <p:spPr>
          <a:xfrm>
            <a:off x="0" y="0"/>
            <a:ext cx="12204000" cy="6700273"/>
          </a:xfrm>
          <a:prstGeom prst="rect">
            <a:avLst/>
          </a:prstGeom>
          <a:ln>
            <a:noFill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3200" b="1" dirty="0">
                <a:latin typeface="Lato" panose="020F0502020204030203" pitchFamily="34" charset="0"/>
              </a:rPr>
              <a:t>Le marché de la purification et les investissements associé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latin typeface="Lato Medium" panose="020F0502020204030203"/>
              </a:rPr>
              <a:t>Juin 2018</a:t>
            </a:r>
            <a:endParaRPr lang="fr-FR" dirty="0">
              <a:latin typeface="Lato Medium" panose="020F0502020204030203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10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330"/>
          <a:stretch/>
        </p:blipFill>
        <p:spPr>
          <a:xfrm>
            <a:off x="1225602" y="3030172"/>
            <a:ext cx="4594942" cy="293672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38201" y="2215754"/>
            <a:ext cx="4620178" cy="144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b="1" dirty="0">
                <a:solidFill>
                  <a:schemeClr val="accent1"/>
                </a:solidFill>
                <a:latin typeface="Lato" panose="020F0502020204030203" pitchFamily="34" charset="0"/>
              </a:rPr>
              <a:t>€</a:t>
            </a:r>
            <a:r>
              <a:rPr lang="fr-FR" sz="4800" b="1" dirty="0">
                <a:solidFill>
                  <a:schemeClr val="accent1"/>
                </a:solidFill>
                <a:latin typeface="Lato" panose="020F0502020204030203" pitchFamily="34" charset="0"/>
              </a:rPr>
              <a:t>20 milliards </a:t>
            </a:r>
            <a:endParaRPr lang="fr-FR" sz="6000" b="1" dirty="0">
              <a:solidFill>
                <a:schemeClr val="accent1"/>
              </a:solidFill>
              <a:latin typeface="Lato" panose="020F050202020403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98741" y="1739817"/>
            <a:ext cx="5473053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Marché mondial pour les secteurs pharmaceutiques et des biotechnologie, 2018</a:t>
            </a:r>
          </a:p>
        </p:txBody>
      </p:sp>
      <p:pic>
        <p:nvPicPr>
          <p:cNvPr id="50" name="Image 49"/>
          <p:cNvPicPr>
            <a:picLocks noChangeAspect="1"/>
          </p:cNvPicPr>
          <p:nvPr/>
        </p:nvPicPr>
        <p:blipFill rotWithShape="1">
          <a:blip r:embed="rId11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517"/>
          <a:stretch/>
        </p:blipFill>
        <p:spPr>
          <a:xfrm>
            <a:off x="8735457" y="3363647"/>
            <a:ext cx="1325547" cy="1146373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7046146" y="2168836"/>
            <a:ext cx="4419365" cy="1441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6000" b="1" dirty="0">
                <a:solidFill>
                  <a:schemeClr val="accent1"/>
                </a:solidFill>
                <a:latin typeface="Lato" panose="020F0502020204030203" pitchFamily="34" charset="0"/>
              </a:rPr>
              <a:t>€</a:t>
            </a:r>
            <a:r>
              <a:rPr lang="fr-FR" sz="4800" b="1" dirty="0">
                <a:solidFill>
                  <a:schemeClr val="accent1"/>
                </a:solidFill>
                <a:latin typeface="Lato" panose="020F0502020204030203" pitchFamily="34" charset="0"/>
              </a:rPr>
              <a:t>880</a:t>
            </a:r>
            <a:r>
              <a:rPr lang="fr-FR" sz="6000" b="1" dirty="0">
                <a:solidFill>
                  <a:schemeClr val="accent1"/>
                </a:solidFill>
                <a:latin typeface="Lato" panose="020F0502020204030203" pitchFamily="34" charset="0"/>
              </a:rPr>
              <a:t> </a:t>
            </a:r>
            <a:r>
              <a:rPr lang="fr-FR" sz="4800" b="1" dirty="0">
                <a:solidFill>
                  <a:schemeClr val="accent1"/>
                </a:solidFill>
                <a:latin typeface="Lato" panose="020F0502020204030203" pitchFamily="34" charset="0"/>
              </a:rPr>
              <a:t>millions</a:t>
            </a:r>
            <a:r>
              <a:rPr lang="fr-FR" sz="6000" b="1" dirty="0">
                <a:solidFill>
                  <a:schemeClr val="accent1"/>
                </a:solidFill>
                <a:latin typeface="Lato" panose="020F0502020204030203" pitchFamily="34" charset="0"/>
              </a:rPr>
              <a:t> 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520945" y="1739817"/>
            <a:ext cx="5213879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Investissements dans les outils de production industrielle en France, 2017</a:t>
            </a:r>
          </a:p>
        </p:txBody>
      </p:sp>
      <p:pic>
        <p:nvPicPr>
          <p:cNvPr id="17412" name="Picture 4" descr="France flag icon - country flags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895" y="2199670"/>
            <a:ext cx="516209" cy="51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e 32"/>
          <p:cNvGrpSpPr/>
          <p:nvPr/>
        </p:nvGrpSpPr>
        <p:grpSpPr>
          <a:xfrm>
            <a:off x="9139771" y="5202728"/>
            <a:ext cx="518508" cy="487351"/>
            <a:chOff x="2652366" y="4231144"/>
            <a:chExt cx="422602" cy="421200"/>
          </a:xfrm>
        </p:grpSpPr>
        <p:sp>
          <p:nvSpPr>
            <p:cNvPr id="34" name="Ellipse 33"/>
            <p:cNvSpPr/>
            <p:nvPr/>
          </p:nvSpPr>
          <p:spPr>
            <a:xfrm>
              <a:off x="2652366" y="4231144"/>
              <a:ext cx="422602" cy="4212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35" name="Picture 3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3987" y="4307843"/>
              <a:ext cx="258067" cy="2580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6" name="Groupe 35"/>
          <p:cNvGrpSpPr/>
          <p:nvPr/>
        </p:nvGrpSpPr>
        <p:grpSpPr>
          <a:xfrm>
            <a:off x="10344026" y="5154490"/>
            <a:ext cx="519797" cy="487351"/>
            <a:chOff x="2651720" y="4868913"/>
            <a:chExt cx="422602" cy="421200"/>
          </a:xfrm>
        </p:grpSpPr>
        <p:sp>
          <p:nvSpPr>
            <p:cNvPr id="37" name="Ellipse 36"/>
            <p:cNvSpPr/>
            <p:nvPr/>
          </p:nvSpPr>
          <p:spPr>
            <a:xfrm>
              <a:off x="2651720" y="4868913"/>
              <a:ext cx="422602" cy="4212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38" name="Image 37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3987" y="4980516"/>
              <a:ext cx="258067" cy="197993"/>
            </a:xfrm>
            <a:prstGeom prst="rect">
              <a:avLst/>
            </a:prstGeom>
          </p:spPr>
        </p:pic>
      </p:grpSp>
      <p:grpSp>
        <p:nvGrpSpPr>
          <p:cNvPr id="39" name="Groupe 38"/>
          <p:cNvGrpSpPr/>
          <p:nvPr/>
        </p:nvGrpSpPr>
        <p:grpSpPr>
          <a:xfrm>
            <a:off x="7784615" y="5180959"/>
            <a:ext cx="519797" cy="487351"/>
            <a:chOff x="2652366" y="5611022"/>
            <a:chExt cx="422602" cy="421200"/>
          </a:xfrm>
        </p:grpSpPr>
        <p:sp>
          <p:nvSpPr>
            <p:cNvPr id="40" name="Ellipse 39"/>
            <p:cNvSpPr/>
            <p:nvPr/>
          </p:nvSpPr>
          <p:spPr>
            <a:xfrm>
              <a:off x="2652366" y="5611022"/>
              <a:ext cx="422602" cy="421200"/>
            </a:xfrm>
            <a:prstGeom prst="ellipse">
              <a:avLst/>
            </a:prstGeom>
            <a:solidFill>
              <a:srgbClr val="126C68">
                <a:alpha val="2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Lato Medium" panose="020F0502020204030203"/>
              </a:endParaRPr>
            </a:p>
          </p:txBody>
        </p:sp>
        <p:pic>
          <p:nvPicPr>
            <p:cNvPr id="41" name="Image 40"/>
            <p:cNvPicPr>
              <a:picLocks noChangeAspect="1"/>
            </p:cNvPicPr>
            <p:nvPr/>
          </p:nvPicPr>
          <p:blipFill rotWithShape="1">
            <a:blip r:embed="rId1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084"/>
            <a:stretch/>
          </p:blipFill>
          <p:spPr>
            <a:xfrm>
              <a:off x="2700493" y="5655367"/>
              <a:ext cx="325054" cy="279274"/>
            </a:xfrm>
            <a:prstGeom prst="rect">
              <a:avLst/>
            </a:prstGeom>
          </p:spPr>
        </p:pic>
      </p:grpSp>
      <p:graphicFrame>
        <p:nvGraphicFramePr>
          <p:cNvPr id="20" name="Tableau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720862"/>
              </p:ext>
            </p:extLst>
          </p:nvPr>
        </p:nvGraphicFramePr>
        <p:xfrm>
          <a:off x="7334910" y="5692793"/>
          <a:ext cx="4114800" cy="548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1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3459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1</a:t>
                      </a:r>
                      <a:r>
                        <a:rPr lang="fr-FR" sz="1600" b="1" baseline="30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er</a:t>
                      </a:r>
                    </a:p>
                    <a:p>
                      <a:pPr algn="ctr"/>
                      <a:r>
                        <a:rPr lang="fr-FR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Réglementaire</a:t>
                      </a:r>
                    </a:p>
                  </a:txBody>
                  <a:tcPr marL="72000" marR="72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2</a:t>
                      </a:r>
                      <a:r>
                        <a:rPr lang="fr-FR" sz="1600" b="1" baseline="30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ème</a:t>
                      </a:r>
                    </a:p>
                    <a:p>
                      <a:pPr algn="ctr"/>
                      <a:r>
                        <a:rPr lang="fr-FR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  Productivité</a:t>
                      </a:r>
                    </a:p>
                  </a:txBody>
                  <a:tcPr marL="72000" marR="72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3</a:t>
                      </a:r>
                      <a:r>
                        <a:rPr lang="fr-FR" sz="1600" b="1" baseline="3000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ème</a:t>
                      </a:r>
                      <a:endParaRPr lang="fr-FR" sz="1600" b="1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Lato" panose="020F0502020204030203" pitchFamily="34" charset="0"/>
                      </a:endParaRPr>
                    </a:p>
                    <a:p>
                      <a:pPr algn="ctr"/>
                      <a:r>
                        <a:rPr lang="fr-FR" sz="14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Lato" panose="020F0502020204030203" pitchFamily="34" charset="0"/>
                        </a:rPr>
                        <a:t>Coûts</a:t>
                      </a:r>
                    </a:p>
                  </a:txBody>
                  <a:tcPr marL="72000" marR="720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Rectangle 20"/>
          <p:cNvSpPr/>
          <p:nvPr/>
        </p:nvSpPr>
        <p:spPr>
          <a:xfrm>
            <a:off x="8155479" y="6266995"/>
            <a:ext cx="27389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Facteurs d’investissements</a:t>
            </a:r>
          </a:p>
        </p:txBody>
      </p:sp>
      <p:sp>
        <p:nvSpPr>
          <p:cNvPr id="46" name="Flèche droite 45"/>
          <p:cNvSpPr/>
          <p:nvPr/>
        </p:nvSpPr>
        <p:spPr>
          <a:xfrm rot="18939782">
            <a:off x="8301039" y="4742577"/>
            <a:ext cx="476250" cy="2697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52" name="Flèche droite 51"/>
          <p:cNvSpPr/>
          <p:nvPr/>
        </p:nvSpPr>
        <p:spPr>
          <a:xfrm rot="16200000">
            <a:off x="9204353" y="4773851"/>
            <a:ext cx="372675" cy="2697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sp>
        <p:nvSpPr>
          <p:cNvPr id="53" name="Flèche droite 52"/>
          <p:cNvSpPr/>
          <p:nvPr/>
        </p:nvSpPr>
        <p:spPr>
          <a:xfrm rot="13360378">
            <a:off x="10006011" y="4758892"/>
            <a:ext cx="476250" cy="2697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Lato Medium" panose="020F0502020204030203"/>
            </a:endParaRPr>
          </a:p>
        </p:txBody>
      </p:sp>
      <p:pic>
        <p:nvPicPr>
          <p:cNvPr id="29" name="Picture 2" descr="File:Pall Corporation.svg - Wikipedia">
            <a:extLst>
              <a:ext uri="{FF2B5EF4-FFF2-40B4-BE49-F238E27FC236}">
                <a16:creationId xmlns:a16="http://schemas.microsoft.com/office/drawing/2014/main" id="{9488F253-EF54-4590-AE94-045ABAE297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84" y="5410206"/>
            <a:ext cx="1977036" cy="338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4" descr="Résultat de recherche d'images pour &quot;ge healthcare logo&quot;">
            <a:extLst>
              <a:ext uri="{FF2B5EF4-FFF2-40B4-BE49-F238E27FC236}">
                <a16:creationId xmlns:a16="http://schemas.microsoft.com/office/drawing/2014/main" id="{CBF78850-59BA-4E6C-82CD-2E796F44F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48" y="4141530"/>
            <a:ext cx="974489" cy="627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 descr="Datei:Novasep logo.svg – Wikipedia">
            <a:extLst>
              <a:ext uri="{FF2B5EF4-FFF2-40B4-BE49-F238E27FC236}">
                <a16:creationId xmlns:a16="http://schemas.microsoft.com/office/drawing/2014/main" id="{AD2F87D8-6F8B-4461-A575-A9637CCED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92" y="4885153"/>
            <a:ext cx="1167385" cy="37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8">
            <a:extLst>
              <a:ext uri="{FF2B5EF4-FFF2-40B4-BE49-F238E27FC236}">
                <a16:creationId xmlns:a16="http://schemas.microsoft.com/office/drawing/2014/main" id="{B8381208-5DA5-4458-B580-1911818776FB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192" y="45720"/>
            <a:ext cx="5728208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0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20000"/>
              </a:spcBef>
            </a:pPr>
            <a:endParaRPr lang="fr-FR" sz="1200" b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42" name="TextBox 8">
            <a:extLst>
              <a:ext uri="{FF2B5EF4-FFF2-40B4-BE49-F238E27FC236}">
                <a16:creationId xmlns:a16="http://schemas.microsoft.com/office/drawing/2014/main" id="{C02F67D1-7FAC-4E01-B5B7-4EAFB177D2BC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858933" y="45720"/>
            <a:ext cx="6186763" cy="283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20000"/>
              </a:spcBef>
            </a:pPr>
            <a:endParaRPr lang="fr-FR" sz="1200" i="1" dirty="0">
              <a:solidFill>
                <a:schemeClr val="bg1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AB42EE-4B01-4596-A90E-D37C8AFF672A}"/>
              </a:ext>
            </a:extLst>
          </p:cNvPr>
          <p:cNvSpPr/>
          <p:nvPr/>
        </p:nvSpPr>
        <p:spPr>
          <a:xfrm>
            <a:off x="6894576" y="2215754"/>
            <a:ext cx="4555133" cy="3262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i="1" dirty="0">
                <a:solidFill>
                  <a:schemeClr val="bg1">
                    <a:lumMod val="50000"/>
                  </a:schemeClr>
                </a:solidFill>
                <a:latin typeface="Lato" panose="020F0502020204030203" pitchFamily="34" charset="0"/>
              </a:rPr>
              <a:t>Secteur pharma/biotech</a:t>
            </a:r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8B694D2C-0331-4671-BB74-20834AA139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Fauquet Innovation - Confidentiel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6EA9856D-EF30-4D85-AC0C-B0083F25E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06AEA6-B279-E449-8EE1-95019B9B4299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2797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5.64548672003334317537E+00&quot;&gt;&lt;m_msothmcolidx val=&quot;0&quot;/&gt;&lt;m_rgb r=&quot;EE&quot; g=&quot;A6&quot; b=&quot;32&quot;/&gt;&lt;m_nBrightness val=&quot;0&quot;/&gt;&lt;/elem&gt;&lt;elem m_fUsage=&quot;2.25632790000000005293E+00&quot;&gt;&lt;m_msothmcolidx val=&quot;0&quot;/&gt;&lt;m_rgb r=&quot;5B&quot; g=&quot;AD&quot; b=&quot;82&quot;/&gt;&lt;m_nBrightness val=&quot;0&quot;/&gt;&lt;/elem&gt;&lt;elem m_fUsage=&quot;4.30467210000000155556E-01&quot;&gt;&lt;m_msothmcolidx val=&quot;0&quot;/&gt;&lt;m_rgb r=&quot;FF&quot; g=&quot;A6&quot; b=&quot;3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UPSLIDETOCALGOID" val="Standard"/>
  <p:tag name="FOOTERSCRIPT" val="&lt;%Title%&gt;-&lt;%Subtitle%&gt;"/>
  <p:tag name="DATESCRIPT" val="&lt;%Date%&gt;"/>
  <p:tag name="UPSLIDETOCMASTERID" val="Upslide 27 28 2016"/>
  <p:tag name="UPSLIDETOCMASTERNAME" val="Upslide 2"/>
  <p:tag name="UPSLIDETOCMASTERLASTEDITIONDATE" val="636053054793251410"/>
  <p:tag name="UPSLIDETOCOPTIONS" val="&lt;?xml version=&quot;1.0&quot; encoding=&quot;utf-16&quot;?&gt;&#10;&lt;TocContentOptions xmlns:xsi=&quot;http://www.w3.org/2001/XMLSchema-instance&quot; xmlns:xsd=&quot;http://www.w3.org/2001/XMLSchema&quot;&gt;&#10;  &lt;TocSlidesOptions&gt;&#10;    &lt;ContainsSubSectionTitles&gt;true&lt;/ContainsSubSectionTitles&gt;&#10;    &lt;ContainsSlideTitles&gt;false&lt;/ContainsSlideTitles&gt;&#10;    &lt;ContainsParentLessSlidesTitles&gt;false&lt;/ContainsParentLessSlidesTitles&gt;&#10;    &lt;ContainsPrentLessSubsections&gt;true&lt;/ContainsPrentLessSubsections&gt;&#10;    &lt;ContainsAppendix&gt;true&lt;/ContainsAppendix&gt;&#10;    &lt;ContainsUnNumberedSections&gt;true&lt;/ContainsUnNumberedSections&gt;&#10;    &lt;SlideTitle&gt;Table of contents&lt;/SlideTitle&gt;&#10;  &lt;/TocSlidesOptions&gt;&#10;  &lt;SectionSlideOptions&gt;&#10;    &lt;ContainsOwnSubSection&gt;true&lt;/ContainsOwnSubSection&gt;&#10;    &lt;ContainsOwnSlide&gt;true&lt;/ContainsOwnSlide&gt;&#10;    &lt;ContainsOtherSections&gt;true&lt;/ContainsOtherSections&gt;&#10;    &lt;ContainsOthersSubsection&gt;false&lt;/ContainsOthersSubsection&gt;&#10;    &lt;containsAppendix&gt;false&lt;/containsAppendix&gt;&#10;    &lt;containsUnnumberedSections&gt;false&lt;/containsUnnumberedSections&gt;&#10;    &lt;SlideTitle&gt;Contents&lt;/SlideTitle&gt;&#10;  &lt;/SectionSlideOptions&gt;&#10;  &lt;SubSectionSlideOptions&gt;&#10;    &lt;ContainsOtherSubsections&gt;false&lt;/ContainsOtherSubsections&gt;&#10;    &lt;ContainsOwnSlides&gt;true&lt;/ContainsOwnSlides&gt;&#10;    &lt;ContainsParentSection&gt;true&lt;/ContainsParentSection&gt;&#10;    &lt;ContainsOtherSections&gt;false&lt;/ContainsOtherSections&gt;&#10;    &lt;containsAppendix&gt;false&lt;/containsAppendix&gt;&#10;    &lt;containsUnnumberedSections&gt;false&lt;/containsUnnumberedSections&gt;&#10;    &lt;SlideTitle&gt;Contents&lt;/SlideTitle&gt;&#10;  &lt;/SubSectionSlideOptions&gt;&#10;  &lt;UsedSlideLayouts&gt;&#10;    &lt;TocSlidesLayout&gt;&#10;      &lt;DesignName&gt;Thème Office&lt;/DesignName&gt;&#10;      &lt;LayoutName&gt;Vide&lt;/LayoutName&gt;&#10;    &lt;/TocSlidesLayout&gt;&#10;    &lt;SectionLayout&gt;&#10;      &lt;DesignName&gt;Thème Office&lt;/DesignName&gt;&#10;      &lt;LayoutName&gt;Vide&lt;/LayoutName&gt;&#10;    &lt;/SectionLayout&gt;&#10;    &lt;SubsectionLayout&gt;&#10;      &lt;DesignName&gt;Thème Office&lt;/DesignName&gt;&#10;      &lt;LayoutName&gt;Vide&lt;/LayoutName&gt;&#10;    &lt;/SubsectionLayout&gt;&#10;    &lt;TitleSliLayout&gt;&#10;      &lt;DesignName&gt;Thème Office&lt;/DesignName&gt;&#10;      &lt;LayoutName&gt;Diapositive de titre&lt;/LayoutName&gt;&#10;    &lt;/TitleSliLayout&gt;&#10;  &lt;/UsedSlideLayouts&gt;&#10;  &lt;ActiveReminders&gt;&#10;    &lt;ReminderScriptList&gt;&#10;      &lt;ReminderScript&gt;&#10;        &lt;Key xsi:type=&quot;xsd:string&quot;&gt;SectionName&lt;/Key&gt;&#10;        &lt;Value xsi:type=&quot;xsd:string&quot;&gt;&amp;lt;%SectionNum%&amp;gt;. &amp;lt;%SectionName%&amp;gt;&lt;/Value&gt;&#10;      &lt;/ReminderScript&gt;&#10;      &lt;ReminderScript&gt;&#10;        &lt;Key xsi:type=&quot;xsd:string&quot;&gt;Reminder26/04/2013 17:03:43466049517&lt;/Key&gt;&#10;        &lt;Value xsi:type=&quot;xsd:string&quot;&gt;&amp;lt;%SubSectionNum%&amp;gt;, &amp;lt;%SubSectionName%&amp;gt;&lt;/Value&gt;&#10;      &lt;/ReminderScript&gt;&#10;    &lt;/ReminderScriptList&gt;&#10;  &lt;/ActiveReminders&gt;&#10;  &lt;CustomAlgoOptions&gt;&#10;    &lt;CustomBaseAlgoOptions&gt;&#10;      &lt;UseSlideTitleAsSubSectionMarker&gt;false&lt;/UseSlideTitleAsSubSectionMarker&gt;&#10;      &lt;SlideTitleAsSectionMarker&gt;&#10;        &lt;UseTitleAsReminder&gt;false&lt;/UseTitleAsReminder&gt;&#10;      &lt;/SlideTitleAsSectionMarker&gt;&#10;      &lt;ShowSectionNums&gt;true&lt;/ShowSectionNums&gt;&#10;      &lt;ShowSlideIndex&gt;true&lt;/ShowSlideIndex&gt;&#10;      &lt;myColorOfNonCurrentItems&gt;&#10;        &lt;UseFixedColor&gt;false&lt;/UseFixedColor&gt;&#10;        &lt;R&gt;0&lt;/R&gt;&#10;        &lt;G&gt;0&lt;/G&gt;&#10;        &lt;B&gt;0&lt;/B&gt;&#10;      &lt;/myColorOfNonCurrentItems&gt;&#10;      &lt;currentItemFormat&gt;&#10;        &lt;UseBanner&gt;false&lt;/UseBanner&gt;&#10;        &lt;BannerFillR&gt;0&lt;/BannerFillR&gt;&#10;        &lt;BannerFillG&gt;0&lt;/BannerFillG&gt;&#10;        &lt;BannerFillB&gt;0&lt;/BannerFillB&gt;&#10;        &lt;ForceBold&gt;false&lt;/ForceBold&gt;&#10;        &lt;ApplyToSubSections&gt;false&lt;/ApplyToSubSections&gt;&#10;        &lt;ApplyToSectionsOnSubSectionDividers&gt;false&lt;/ApplyToSectionsOnSubSectionDividers&gt;&#10;        &lt;UseSubSecSpecificBanner&gt;false&lt;/UseSubSecSpecificBanner&gt;&#10;        &lt;SubSecBannerFillR&gt;0&lt;/SubSecBannerFillR&gt;&#10;        &lt;SubSecBannerFillG&gt;0&lt;/SubSecBannerFillG&gt;&#10;        &lt;SubSecBannerFillB&gt;0&lt;/SubSecBannerFillB&gt;&#10;      &lt;/currentItemFormat&gt;&#10;      &lt;nonCurrentItemAttenuation&gt;&#10;        &lt;Shading&gt;0.6&lt;/Shading&gt;&#10;      &lt;/nonCurrentItemAttenuation&gt;&#10;      &lt;ForceDisplayTOCOnTwocolumns&gt;false&lt;/ForceDisplayTOCOnTwocolumns&gt;&#10;      &lt;DisplayTOCOnTwocolumns&gt;false&lt;/DisplayTOCOnTwocolumns&gt;&#10;      &lt;Scripts&gt;&#10;        &lt;BeforeSubSecTitle /&gt;&#10;        &lt;BeforeSlideIndex /&gt;&#10;        &lt;AfterSecNum /&gt;&#10;        &lt;BeforeSecNum /&gt;&#10;        &lt;AfterSubSecNum /&gt;&#10;        &lt;BeforeSubSecNum /&gt;&#10;      &lt;/Scripts&gt;&#10;      &lt;Lines&gt;&#10;        &lt;UseLineBelowSections&gt;false&lt;/UseLineBelowSections&gt;&#10;        &lt;LineBelowSection&gt;&#10;          &lt;XOffset&gt;0&lt;/XOffset&gt;&#10;          &lt;YOffset&gt;0&lt;/YOffset&gt;&#10;          &lt;Weight&gt;0&lt;/Weight&gt;&#10;          &lt;R&gt;0&lt;/R&gt;&#10;          &lt;G&gt;0&lt;/G&gt;&#10;          &lt;B&gt;0&lt;/B&gt;&#10;          &lt;LineStyle&gt;1&lt;/LineStyle&gt;&#10;        &lt;/LineBelowSection&gt;&#10;      &lt;/Lines&gt;&#10;      &lt;ManVerticalSpacing&gt;&#10;        &lt;UseManualSpacing&gt;false&lt;/UseManualSpacing&gt;&#10;        &lt;ManualSpacing&gt;&#10;          &lt;SpaceBeforeSections&gt;0&lt;/SpaceBeforeSections&gt;&#10;          &lt;SpaceBeforeSubSections&gt;0&lt;/SpaceBeforeSubSections&gt;&#10;          &lt;SpaceBeforeSlides&gt;0&lt;/SpaceBeforeSlides&gt;&#10;        &lt;/ManualSpacing&gt;&#10;        &lt;ManualSpacingSections&gt;&#10;          &lt;SpaceBeforeSections&gt;0&lt;/SpaceBeforeSections&gt;&#10;          &lt;SpaceBeforeSubSections&gt;0&lt;/SpaceBeforeSubSections&gt;&#10;          &lt;SpaceBeforeSlides&gt;0&lt;/SpaceBeforeSlides&gt;&#10;        &lt;/ManualSpacingSections&gt;&#10;        &lt;ManualSpacingSubSections&gt;&#10;          &lt;SpaceBeforeSections&gt;0&lt;/SpaceBeforeSections&gt;&#10;          &lt;SpaceBeforeSubSections&gt;0&lt;/SpaceBeforeSubSections&gt;&#10;          &lt;SpaceBeforeSlides&gt;0&lt;/SpaceBeforeSlides&gt;&#10;        &lt;/ManualSpacingSubSections&gt;&#10;        &lt;UseSpecificSpacingForSecDivider&gt;false&lt;/UseSpecificSpacingForSecDivider&gt;&#10;        &lt;UseSpecificSpacingForSubSecDivider&gt;false&lt;/UseSpecificSpacingForSubSecDivider&gt;&#10;      &lt;/ManVerticalSpacing&gt;&#10;    &lt;/CustomBaseAlgoOptions&gt;&#10;  &lt;/CustomAlgoOptions&gt;&#10;  &lt;XmlSubSectionsHaveSlide&gt;true&lt;/XmlSubSectionsHaveSlide&gt;&#10;  &lt;AllowDuplicateTitleSlides&gt;true&lt;/AllowDuplicateTitleSlides&gt;&#10;  &lt;ShowEmptySlideTitles&gt;false&lt;/ShowEmptySlideTitles&gt;&#10;  &lt;NumberingOption&gt;&#10;    &lt;NumType&gt;FullArabic&lt;/NumType&gt;&#10;  &lt;/NumberingOption&gt;&#10;  &lt;NumberingOptionForAppendix&gt;&#10;    &lt;NumType&gt;RomanAndLetters&lt;/NumType&gt;&#10;  &lt;/NumberingOptionForAppendix&gt;&#10;&lt;/TocContentOption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ECTIONUM"/>
  <p:tag name="TOCTEMPLATESHAPENAME" val="Numéro de section"/>
  <p:tag name="TOCTEMPLATESHAPEDESCRIPTION" val="Définit le format de la forme contenant les numéros de secti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LIDEINDEX"/>
  <p:tag name="TOCTEMPLATESHAPENAME" val="Numéro de slide"/>
  <p:tag name="TOCTEMPLATESHAPEDESCRIPTION" val="Définit le format de la forme contenant le numéro de diapositiv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ECTIONUM"/>
  <p:tag name="TOCTEMPLATESHAPENAME" val="Numéro de section"/>
  <p:tag name="TOCTEMPLATESHAPEDESCRIPTION" val="Définit le format de la forme contenant les numéros de secti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ECTIONINDEX"/>
  <p:tag name="TOCTEMPLATESHAPENAME" val="Numéro de slide des sections"/>
  <p:tag name="TOCTEMPLATESHAPEDESCRIPTION" val="Définit le format de la forme contenant les numéros de slides pour les sections.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7"/>
  <p:tag name="SLIDEINDEX" val="307"/>
  <p:tag name="NAME" val="SLIDEINDEX"/>
  <p:tag name="TOCTEMPLATESHAPENAME" val="Numéro de slide"/>
  <p:tag name="TOCTEMPLATESHAPEDESCRIPTION" val="Définit le format de la forme contenant le numéro de diapositiv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7"/>
  <p:tag name="SLIDEINDEX" val="307"/>
  <p:tag name="NAME" val="SUBSECTIONINDEX"/>
  <p:tag name="TOCTEMPLATESHAPENAME" val="Numéro de slide des sous-sections"/>
  <p:tag name="TOCTEMPLATESHAPEDESCRIPTION" val="Définit le format de la forme contenant les numéros de slides des sous-sections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UM"/>
  <p:tag name="TOCTEMPLATESHAPENAME" val="Index des sous-section"/>
  <p:tag name="TOCTEMPLATESHAPEDESCRIPTION" val="Définit le format de la forme contenant les numéros des sou-section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UBSECTIONTITLE"/>
  <p:tag name="TOCTEMPLATESHAPENAME" val="Titre des sous-sections"/>
  <p:tag name="TOCTEMPLATESHAPEDESCRIPTION" val="Définit le format de la forme contenant les titres des sous-sections.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  <p:tag name="TOCTEMPLATESHAPENAME" val=""/>
  <p:tag name="TOCTEMPLATESHAPEDESCRIPTION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4dTSSDRtCIVluinJ9F.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AKquwfQc6j4AifTif9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3"/>
  <p:tag name="MODE" val="1"/>
  <p:tag name="LEFT" val="17"/>
  <p:tag name="TOP" val="85"/>
  <p:tag name="WIDTH" val="684"/>
  <p:tag name="NAME" val="SECTIONUM"/>
  <p:tag name="TOCTEMPLATESHAPENAME" val="Numéro de section"/>
  <p:tag name="TOCTEMPLATESHAPEDESCRIPTION" val="Définit le format de la forme contenant les numéros de section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.N6OZ1R4unD2qmfW9r2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PZTcTYQka7gW4CeRlr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eCN1zaQr28icMNpqiU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JEcr8QRxa8xbJ8KzX4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lG_kJgRY2K9tkLmJ7Pw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GJPr49SLKo4Ct79jAw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O_qKbUTeiRqIOnnryC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GigYsMTwOqAysWKaxs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ub5wydT8.7PpSTUoxV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bO3Fk5S0qbY.rc8G_N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A"/>
  <p:tag name="NAME" val="SECTIONTITLE"/>
  <p:tag name="TOCTEMPLATESHAPENAME" val="Titre de section"/>
  <p:tag name="TOCTEMPLATESHAPEDESCRIPTION" val="Définit le format de la forme contenant les titres de secti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gIiRETQsagJXSOI1IE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1pA0anRrmsEYRxTBac8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RAWAREA"/>
  <p:tag name="TOCTEMPLATESHAPENAME" val="Zone de tracé"/>
  <p:tag name="TOCTEMPLATESHAPEDESCRIPTION" val="Délimite la position verticale de la table des matières.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cocQLbSK22UwlbZ8lBA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0"/>
  <p:tag name="MODE" val="1"/>
  <p:tag name="LEFT" val="17"/>
  <p:tag name="TOP" val="7,5"/>
  <p:tag name="HEIGHT" val="24,25"/>
  <p:tag name="NAME" val="SectionNam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ANK" val="1"/>
  <p:tag name="MODE" val="1"/>
  <p:tag name="RIGHT" val="701"/>
  <p:tag name="TOP" val="7,5"/>
  <p:tag name="HEIGHT" val="24,25"/>
  <p:tag name="NAME" val="Reminder26/04/2013 17:03:43466049517"/>
  <p:tag name="TOCTEMPLATESHAPENAME" val="Subsecti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YKoUzVSwOxRK4KuSpV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U5doIuQpGuclXlHHlE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A"/>
  <p:tag name="NAME" val="SLIDETITLE"/>
  <p:tag name="TOCTEMPLATESHAPENAME" val="Titre des diapositives"/>
  <p:tag name="TOCTEMPLATESHAPEDESCRIPTION" val="Définit le format de la forme contenant les titres de slid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CSHAPE" val="304"/>
  <p:tag name="SLIDEINDEX" val="304"/>
  <p:tag name="NAME" val="SLIDEINDEX"/>
  <p:tag name="TOCTEMPLATESHAPENAME" val="Numéro de slide"/>
  <p:tag name="TOCTEMPLATESHAPEDESCRIPTION" val="Définit le format de la forme contenant le numéro de diapositive"/>
</p:tagLst>
</file>

<file path=ppt/theme/theme1.xml><?xml version="1.0" encoding="utf-8"?>
<a:theme xmlns:a="http://schemas.openxmlformats.org/drawingml/2006/main" name="Thème Office">
  <a:themeElements>
    <a:clrScheme name="Personnalisé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EA5A0"/>
      </a:accent1>
      <a:accent2>
        <a:srgbClr val="ED7D31"/>
      </a:accent2>
      <a:accent3>
        <a:srgbClr val="A5A5A5"/>
      </a:accent3>
      <a:accent4>
        <a:srgbClr val="FF0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UpSlide Table Of Content Master (do not edi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60</TotalTime>
  <Words>1589</Words>
  <Application>Microsoft Office PowerPoint</Application>
  <PresentationFormat>Grand écran</PresentationFormat>
  <Paragraphs>307</Paragraphs>
  <Slides>15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31" baseType="lpstr">
      <vt:lpstr>ＭＳ Ｐゴシック</vt:lpstr>
      <vt:lpstr>ＭＳ Ｐゴシック</vt:lpstr>
      <vt:lpstr>Arial</vt:lpstr>
      <vt:lpstr>Calibri</vt:lpstr>
      <vt:lpstr>Calibri Light</vt:lpstr>
      <vt:lpstr>Century Gothic</vt:lpstr>
      <vt:lpstr>Garamond</vt:lpstr>
      <vt:lpstr>Lato</vt:lpstr>
      <vt:lpstr>Lato Medium</vt:lpstr>
      <vt:lpstr>Rubik</vt:lpstr>
      <vt:lpstr>Segoe UI Light</vt:lpstr>
      <vt:lpstr>Times New Roman</vt:lpstr>
      <vt:lpstr>Wingdings</vt:lpstr>
      <vt:lpstr>Thème Office</vt:lpstr>
      <vt:lpstr>UpSlide Table Of Content Master (do not edit)</vt:lpstr>
      <vt:lpstr>Diapositive think-cell</vt:lpstr>
      <vt:lpstr>Présentation PowerPoint</vt:lpstr>
      <vt:lpstr>La purification est l’étape de la production industrielle à plus forte valeur ajoutée</vt:lpstr>
      <vt:lpstr>Présentation PowerPoint</vt:lpstr>
      <vt:lpstr>Présentation PowerPoint</vt:lpstr>
      <vt:lpstr>Présentation PowerPoint</vt:lpstr>
      <vt:lpstr>Présentation PowerPoint</vt:lpstr>
      <vt:lpstr>                            est une brique technologique et industrielle brevetée qui simplifie la purification</vt:lpstr>
      <vt:lpstr>Présentation PowerPoint</vt:lpstr>
      <vt:lpstr>Le marché de la purification et les investissements associés</vt:lpstr>
      <vt:lpstr>Fauquet Innovation cible trois secteurs pour lesquels son procédé est pertinent et lui assurera la réussite </vt:lpstr>
      <vt:lpstr>Fauquet Innovation lève €1 millions en Equity pour accélérer son développement commercial et lancer ses activités de production</vt:lpstr>
      <vt:lpstr>L’équipe</vt:lpstr>
      <vt:lpstr>Back-up</vt:lpstr>
      <vt:lpstr>Business model</vt:lpstr>
      <vt:lpstr>Fauquet Innovation, société de "smart industry" fondée en  2013, développe de nouveaux procédés de purification. La phase de commercialisation commence au Q4 2017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ichael Lima-Vanzeler</dc:creator>
  <cp:lastModifiedBy>Fauquet Innovation</cp:lastModifiedBy>
  <cp:revision>518</cp:revision>
  <cp:lastPrinted>2017-11-13T16:58:47Z</cp:lastPrinted>
  <dcterms:created xsi:type="dcterms:W3CDTF">2017-02-10T13:43:01Z</dcterms:created>
  <dcterms:modified xsi:type="dcterms:W3CDTF">2018-06-05T13:40:23Z</dcterms:modified>
</cp:coreProperties>
</file>